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55" r:id="rId4"/>
    <p:sldMasterId id="2147483662" r:id="rId5"/>
  </p:sldMasterIdLst>
  <p:notesMasterIdLst>
    <p:notesMasterId r:id="rId16"/>
  </p:notesMasterIdLst>
  <p:handoutMasterIdLst>
    <p:handoutMasterId r:id="rId17"/>
  </p:handoutMasterIdLst>
  <p:sldIdLst>
    <p:sldId id="260" r:id="rId6"/>
    <p:sldId id="4682" r:id="rId7"/>
    <p:sldId id="4696" r:id="rId8"/>
    <p:sldId id="4680" r:id="rId9"/>
    <p:sldId id="4690" r:id="rId10"/>
    <p:sldId id="2105" r:id="rId11"/>
    <p:sldId id="4700" r:id="rId12"/>
    <p:sldId id="4691" r:id="rId13"/>
    <p:sldId id="4676" r:id="rId14"/>
    <p:sldId id="303" r:id="rId15"/>
  </p:sldIdLst>
  <p:sldSz cx="20104100" cy="11315700"/>
  <p:notesSz cx="9947275" cy="68151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568" userDrawn="1">
          <p15:clr>
            <a:srgbClr val="A4A3A4"/>
          </p15:clr>
        </p15:guide>
        <p15:guide id="2" pos="277" userDrawn="1">
          <p15:clr>
            <a:srgbClr val="A4A3A4"/>
          </p15:clr>
        </p15:guide>
        <p15:guide id="3" pos="4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3" roundtripDataSignature="AMtx7mh7q3xpIwk4qY00UgrTwVK46xTPtQ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Гость" initials="Го" lastIdx="8" clrIdx="0">
    <p:extLst>
      <p:ext uri="{19B8F6BF-5375-455C-9EA6-DF929625EA0E}">
        <p15:presenceInfo xmlns:p15="http://schemas.microsoft.com/office/powerpoint/2012/main" userId="S::urn:spo:anon#6301cac2615989df4a7f2a66516e9b2217a16f25be57438a6fdfcad90d523d42::" providerId="AD"/>
      </p:ext>
    </p:extLst>
  </p:cmAuthor>
  <p:cmAuthor id="2" name="Пешкова Василиса Олеговна" initials="ПО" lastIdx="1" clrIdx="1">
    <p:extLst>
      <p:ext uri="{19B8F6BF-5375-455C-9EA6-DF929625EA0E}">
        <p15:presenceInfo xmlns:p15="http://schemas.microsoft.com/office/powerpoint/2012/main" userId="S::v.peshkova@nti.work::8cab216e-47e0-4f45-a26c-c341913e10c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74"/>
    <a:srgbClr val="00BBBB"/>
    <a:srgbClr val="566062"/>
    <a:srgbClr val="F0F7FE"/>
    <a:srgbClr val="FFFFFF"/>
    <a:srgbClr val="20D7C0"/>
    <a:srgbClr val="000000"/>
    <a:srgbClr val="0A4884"/>
    <a:srgbClr val="EFFAFB"/>
    <a:srgbClr val="E8F2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A88DF0FD-1832-459D-A4AA-4501EE5D750F}">
  <a:tblStyle styleId="{A88DF0FD-1832-459D-A4AA-4501EE5D750F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88FB5F3-C342-4D8A-924C-601262E7DF53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8ECF4"/>
          </a:solidFill>
        </a:fill>
      </a:tcStyle>
    </a:wholeTbl>
    <a:band1H>
      <a:tcTxStyle/>
      <a:tcStyle>
        <a:tcBdr/>
        <a:fill>
          <a:solidFill>
            <a:srgbClr val="CFD7E7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FD7E7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979D45DF-C3B2-4E91-9913-E00A4624A0FA}" styleName="Table_2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1">
              <a:alpha val="20000"/>
            </a:schemeClr>
          </a:solidFill>
        </a:fill>
      </a:tcStyle>
    </a:band1V>
    <a:band2V>
      <a:tcTxStyle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127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/>
      <a:tcStyle>
        <a:tcBdr>
          <a:bottom>
            <a:ln w="127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69" autoAdjust="0"/>
    <p:restoredTop sz="95604" autoAdjust="0"/>
  </p:normalViewPr>
  <p:slideViewPr>
    <p:cSldViewPr snapToGrid="0">
      <p:cViewPr varScale="1">
        <p:scale>
          <a:sx n="76" d="100"/>
          <a:sy n="76" d="100"/>
        </p:scale>
        <p:origin x="264" y="232"/>
      </p:cViewPr>
      <p:guideLst>
        <p:guide orient="horz" pos="1568"/>
        <p:guide pos="277"/>
        <p:guide pos="43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112" d="100"/>
          <a:sy n="112" d="100"/>
        </p:scale>
        <p:origin x="2136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3" Type="http://schemas.openxmlformats.org/officeDocument/2006/relationships/customXml" Target="../customXml/item3.xml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43" Type="http://customschemas.google.com/relationships/presentationmetadata" Target="metadata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14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450956115450025"/>
          <c:y val="0.16637034933257597"/>
          <c:w val="0.77389655815987901"/>
          <c:h val="0.74769227492189727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уммы, долл. США</c:v>
                </c:pt>
              </c:strCache>
            </c:strRef>
          </c:tx>
          <c:spPr>
            <a:ln w="28575">
              <a:noFill/>
            </a:ln>
          </c:spPr>
          <c:dPt>
            <c:idx val="0"/>
            <c:bubble3D val="0"/>
            <c:explosion val="6"/>
            <c:spPr>
              <a:solidFill>
                <a:schemeClr val="bg1">
                  <a:lumMod val="75000"/>
                </a:schemeClr>
              </a:solidFill>
              <a:ln w="28575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B848-1443-8F0C-8BE99A943DD7}"/>
              </c:ext>
            </c:extLst>
          </c:dPt>
          <c:dPt>
            <c:idx val="1"/>
            <c:bubble3D val="0"/>
            <c:explosion val="4"/>
            <c:spPr>
              <a:solidFill>
                <a:schemeClr val="accent6"/>
              </a:solidFill>
              <a:ln w="28575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B848-1443-8F0C-8BE99A943DD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8575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B848-1443-8F0C-8BE99A943DD7}"/>
              </c:ext>
            </c:extLst>
          </c:dPt>
          <c:dPt>
            <c:idx val="3"/>
            <c:bubble3D val="0"/>
            <c:explosion val="9"/>
            <c:spPr>
              <a:solidFill>
                <a:schemeClr val="accent4"/>
              </a:solidFill>
              <a:ln w="28575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B848-1443-8F0C-8BE99A943DD7}"/>
              </c:ext>
            </c:extLst>
          </c:dPt>
          <c:dPt>
            <c:idx val="4"/>
            <c:bubble3D val="0"/>
            <c:explosion val="7"/>
            <c:spPr>
              <a:solidFill>
                <a:schemeClr val="accent5"/>
              </a:solidFill>
              <a:ln w="28575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8-B848-1443-8F0C-8BE99A943DD7}"/>
              </c:ext>
            </c:extLst>
          </c:dPt>
          <c:dPt>
            <c:idx val="5"/>
            <c:bubble3D val="0"/>
            <c:explosion val="4"/>
            <c:spPr>
              <a:solidFill>
                <a:schemeClr val="accent6"/>
              </a:solidFill>
              <a:ln w="28575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B848-1443-8F0C-8BE99A943DD7}"/>
              </c:ext>
            </c:extLst>
          </c:dPt>
          <c:dLbls>
            <c:dLbl>
              <c:idx val="0"/>
              <c:layout>
                <c:manualLayout>
                  <c:x val="4.2862268007974403E-3"/>
                  <c:y val="-3.6069298494747133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848-1443-8F0C-8BE99A943DD7}"/>
                </c:ext>
              </c:extLst>
            </c:dLbl>
            <c:dLbl>
              <c:idx val="1"/>
              <c:layout>
                <c:manualLayout>
                  <c:x val="7.5008969013955215E-3"/>
                  <c:y val="-0.20018460664583926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848-1443-8F0C-8BE99A943DD7}"/>
                </c:ext>
              </c:extLst>
            </c:dLbl>
            <c:dLbl>
              <c:idx val="2"/>
              <c:layout>
                <c:manualLayout>
                  <c:x val="-4.3933824708173808E-2"/>
                  <c:y val="-4.6890088043169562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848-1443-8F0C-8BE99A943DD7}"/>
                </c:ext>
              </c:extLst>
            </c:dLbl>
            <c:dLbl>
              <c:idx val="3"/>
              <c:layout>
                <c:manualLayout>
                  <c:x val="2.5717360804784643E-2"/>
                  <c:y val="-3.967622834422040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848-1443-8F0C-8BE99A943DD7}"/>
                </c:ext>
              </c:extLst>
            </c:dLbl>
            <c:dLbl>
              <c:idx val="4"/>
              <c:layout>
                <c:manualLayout>
                  <c:x val="-1.5715983383876135E-16"/>
                  <c:y val="-0.1226356148821358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848-1443-8F0C-8BE99A943DD7}"/>
                </c:ext>
              </c:extLst>
            </c:dLbl>
            <c:dLbl>
              <c:idx val="5"/>
              <c:layout>
                <c:manualLayout>
                  <c:x val="0"/>
                  <c:y val="0.10279750071002557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848-1443-8F0C-8BE99A943D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Прочие</c:v>
                </c:pt>
                <c:pt idx="1">
                  <c:v>Сервисы для пациентов</c:v>
                </c:pt>
                <c:pt idx="2">
                  <c:v>СППВР</c:v>
                </c:pt>
                <c:pt idx="3">
                  <c:v>Анализ изображений</c:v>
                </c:pt>
                <c:pt idx="4">
                  <c:v>Диагностика</c:v>
                </c:pt>
                <c:pt idx="5">
                  <c:v>Анализ данных</c:v>
                </c:pt>
              </c:strCache>
            </c:strRef>
          </c:cat>
          <c:val>
            <c:numRef>
              <c:f>Лист1!$B$2:$B$7</c:f>
              <c:numCache>
                <c:formatCode>_-[$$-409]* #,##0_ ;_-[$$-409]* \-#,##0\ ;_-[$$-409]* "-"??_ ;_-@_ </c:formatCode>
                <c:ptCount val="6"/>
                <c:pt idx="0">
                  <c:v>10545522.143797291</c:v>
                </c:pt>
                <c:pt idx="1">
                  <c:v>17027799.682543192</c:v>
                </c:pt>
                <c:pt idx="2">
                  <c:v>4432620.0614198977</c:v>
                </c:pt>
                <c:pt idx="3">
                  <c:v>14416009.151802151</c:v>
                </c:pt>
                <c:pt idx="4">
                  <c:v>5096586.2535203453</c:v>
                </c:pt>
                <c:pt idx="5">
                  <c:v>3842282.99471632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48-1443-8F0C-8BE99A943DD7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нвестиции, млн долл</c:v>
                </c:pt>
              </c:strCache>
            </c:strRef>
          </c:tx>
          <c:spPr>
            <a:gradFill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2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547</c:v>
                </c:pt>
                <c:pt idx="1">
                  <c:v>1208</c:v>
                </c:pt>
                <c:pt idx="2">
                  <c:v>1706</c:v>
                </c:pt>
                <c:pt idx="3">
                  <c:v>3233</c:v>
                </c:pt>
                <c:pt idx="4">
                  <c:v>4418</c:v>
                </c:pt>
                <c:pt idx="5">
                  <c:v>6848</c:v>
                </c:pt>
                <c:pt idx="6">
                  <c:v>112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6A-2F4E-98F9-82FC4D6EA04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8"/>
        <c:overlap val="-27"/>
        <c:axId val="56798720"/>
        <c:axId val="138084352"/>
      </c:barChart>
      <c:catAx>
        <c:axId val="56798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8084352"/>
        <c:crosses val="autoZero"/>
        <c:auto val="1"/>
        <c:lblAlgn val="ctr"/>
        <c:lblOffset val="100"/>
        <c:noMultiLvlLbl val="0"/>
      </c:catAx>
      <c:valAx>
        <c:axId val="138084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6798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3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3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0.56999999999999995</c:v>
                </c:pt>
                <c:pt idx="1">
                  <c:v>2</c:v>
                </c:pt>
                <c:pt idx="2">
                  <c:v>14.57</c:v>
                </c:pt>
                <c:pt idx="3">
                  <c:v>4.3499999999999996</c:v>
                </c:pt>
                <c:pt idx="4">
                  <c:v>11.31</c:v>
                </c:pt>
                <c:pt idx="5">
                  <c:v>17.170000000000002</c:v>
                </c:pt>
                <c:pt idx="6">
                  <c:v>5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40-DA47-B489-6369738FA7F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8"/>
        <c:overlap val="-27"/>
        <c:axId val="137718272"/>
        <c:axId val="138086080"/>
      </c:barChart>
      <c:catAx>
        <c:axId val="137718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8086080"/>
        <c:crosses val="autoZero"/>
        <c:auto val="1"/>
        <c:lblAlgn val="ctr"/>
        <c:lblOffset val="100"/>
        <c:noMultiLvlLbl val="0"/>
      </c:catAx>
      <c:valAx>
        <c:axId val="1380860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718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AB413C94-42A4-594D-86B4-E274EF9812D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10063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D79BEEE-F173-5946-86DD-CF1217D444D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34038" y="0"/>
            <a:ext cx="4311650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348977-59D3-5A45-B2D7-E0BA5D0A09D6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D2E6FCC-B524-A449-A2D2-214D5345DBB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73825"/>
            <a:ext cx="4310063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D5D79E91-CE8F-2A4D-A0FC-8301BF565F4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34038" y="6473825"/>
            <a:ext cx="431165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7566FF-C339-3A45-9823-04AE7381AE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01672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4310695" cy="341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8750" tIns="24375" rIns="48750" bIns="24375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5634224" y="0"/>
            <a:ext cx="4310695" cy="341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8750" tIns="24375" rIns="48750" bIns="24375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2930525" y="852488"/>
            <a:ext cx="4086225" cy="23002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994414" y="3279451"/>
            <a:ext cx="7958448" cy="26837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8750" tIns="24375" rIns="48750" bIns="24375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6473808"/>
            <a:ext cx="4310695" cy="341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8750" tIns="24375" rIns="48750" bIns="24375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5634224" y="6473808"/>
            <a:ext cx="4310695" cy="3413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8750" tIns="24375" rIns="48750" bIns="24375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z="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50102559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119638-3671-4D96-B3B2-CFD899478622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9005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7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microsoft.com/office/2007/relationships/hdphoto" Target="../media/hdphoto2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microsoft.com/office/2007/relationships/hdphoto" Target="../media/hdphoto3.wdp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microsoft.com/office/2007/relationships/hdphoto" Target="../media/hdphoto4.wdp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6" Type="http://schemas.microsoft.com/office/2007/relationships/hdphoto" Target="../media/hdphoto5.wdp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microsoft.com/office/2007/relationships/hdphoto" Target="../media/hdphoto6.wdp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4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png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14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png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4C8E9D7-5C17-064C-9209-F5724DF9AC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912" r="6517" b="8319"/>
          <a:stretch/>
        </p:blipFill>
        <p:spPr>
          <a:xfrm>
            <a:off x="0" y="0"/>
            <a:ext cx="20228511" cy="11315700"/>
          </a:xfrm>
          <a:prstGeom prst="rect">
            <a:avLst/>
          </a:prstGeom>
        </p:spPr>
      </p:pic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2F978BCB-C06E-C042-BB0B-0BA1BBBECB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2976" y="3574472"/>
            <a:ext cx="7400004" cy="317178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537C775D-28D4-7A46-807A-3C52090160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2976" y="6998407"/>
            <a:ext cx="7400004" cy="273208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6" name="Текст 15">
            <a:extLst>
              <a:ext uri="{FF2B5EF4-FFF2-40B4-BE49-F238E27FC236}">
                <a16:creationId xmlns:a16="http://schemas.microsoft.com/office/drawing/2014/main" id="{6F2E1DA8-13C6-6042-8365-C6074CB127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65200" y="10374313"/>
            <a:ext cx="3678238" cy="5318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rgbClr val="20D7C0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означение версионности документ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5B1F976-7723-DE44-8A75-BD8CE829A48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71538" y="725488"/>
            <a:ext cx="5432746" cy="197554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86F8094-5B3F-EE4E-A069-6B261E14972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09876" y="458195"/>
            <a:ext cx="6407295" cy="564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506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75">
          <p15:clr>
            <a:srgbClr val="FBAE40"/>
          </p15:clr>
        </p15:guide>
        <p15:guide id="3" orient="horz" pos="6535">
          <p15:clr>
            <a:srgbClr val="FBAE40"/>
          </p15:clr>
        </p15:guide>
        <p15:guide id="4" orient="horz" pos="45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3"/>
            <a:ext cx="5977224" cy="526729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405103" y="458194"/>
            <a:ext cx="1914137" cy="712237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1136F7E-B10E-EE45-8749-D16CB7E7FD8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327138" y="225635"/>
            <a:ext cx="16355822" cy="15633027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621C6B0-AE45-0443-A71F-C1E57AB9ECBD}"/>
              </a:ext>
            </a:extLst>
          </p:cNvPr>
          <p:cNvSpPr>
            <a:spLocks noGrp="1"/>
          </p:cNvSpPr>
          <p:nvPr>
            <p:ph type="sldNum" idx="14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181337A2-E420-674B-AF07-C5DC2BA12A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88" y="1589088"/>
            <a:ext cx="9741217" cy="1135824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0E0D160D-A8F2-9746-82B2-DF760B9791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9741217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5" name="Текст 8">
            <a:extLst>
              <a:ext uri="{FF2B5EF4-FFF2-40B4-BE49-F238E27FC236}">
                <a16:creationId xmlns:a16="http://schemas.microsoft.com/office/drawing/2014/main" id="{25F09C31-925C-7C42-B025-EE46AF70A0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4588" y="2942400"/>
            <a:ext cx="879316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16" name="Текст 8">
            <a:extLst>
              <a:ext uri="{FF2B5EF4-FFF2-40B4-BE49-F238E27FC236}">
                <a16:creationId xmlns:a16="http://schemas.microsoft.com/office/drawing/2014/main" id="{A89293F9-473B-7A44-AD01-FABB3438F7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544366" y="2942400"/>
            <a:ext cx="879316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1105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3"/>
            <a:ext cx="5977224" cy="526729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405103" y="458194"/>
            <a:ext cx="1914137" cy="712237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1136F7E-B10E-EE45-8749-D16CB7E7FD8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327138" y="225635"/>
            <a:ext cx="16355822" cy="15633027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621C6B0-AE45-0443-A71F-C1E57AB9ECBD}"/>
              </a:ext>
            </a:extLst>
          </p:cNvPr>
          <p:cNvSpPr>
            <a:spLocks noGrp="1"/>
          </p:cNvSpPr>
          <p:nvPr>
            <p:ph type="sldNum" idx="14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181337A2-E420-674B-AF07-C5DC2BA12A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88" y="1589088"/>
            <a:ext cx="9741217" cy="1135824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0E0D160D-A8F2-9746-82B2-DF760B9791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9741217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5" name="Текст 8">
            <a:extLst>
              <a:ext uri="{FF2B5EF4-FFF2-40B4-BE49-F238E27FC236}">
                <a16:creationId xmlns:a16="http://schemas.microsoft.com/office/drawing/2014/main" id="{25F09C31-925C-7C42-B025-EE46AF70A0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4588" y="7261819"/>
            <a:ext cx="4134612" cy="210312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11A7303-58E2-D643-8654-4CE3CDD6A66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95350" y="3949700"/>
            <a:ext cx="2139950" cy="2141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1" name="Текст 8">
            <a:extLst>
              <a:ext uri="{FF2B5EF4-FFF2-40B4-BE49-F238E27FC236}">
                <a16:creationId xmlns:a16="http://schemas.microsoft.com/office/drawing/2014/main" id="{F4ACFC93-6EE1-0545-AB5D-2AA612F3EF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4588" y="6621739"/>
            <a:ext cx="4134612" cy="438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 b="1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35" name="Текст 8">
            <a:extLst>
              <a:ext uri="{FF2B5EF4-FFF2-40B4-BE49-F238E27FC236}">
                <a16:creationId xmlns:a16="http://schemas.microsoft.com/office/drawing/2014/main" id="{FAAF74B4-50BB-4C47-AE2D-5CFD665532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44134" y="7261819"/>
            <a:ext cx="4134612" cy="210312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36" name="Рисунок 2">
            <a:extLst>
              <a:ext uri="{FF2B5EF4-FFF2-40B4-BE49-F238E27FC236}">
                <a16:creationId xmlns:a16="http://schemas.microsoft.com/office/drawing/2014/main" id="{74135ABC-39DF-C84C-9E74-CD31114C4C7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644896" y="3949700"/>
            <a:ext cx="2139950" cy="2141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7" name="Текст 8">
            <a:extLst>
              <a:ext uri="{FF2B5EF4-FFF2-40B4-BE49-F238E27FC236}">
                <a16:creationId xmlns:a16="http://schemas.microsoft.com/office/drawing/2014/main" id="{49455812-9A6F-1A42-AC06-36E3D8CA32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44134" y="6621739"/>
            <a:ext cx="4134612" cy="438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 b="1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38" name="Текст 8">
            <a:extLst>
              <a:ext uri="{FF2B5EF4-FFF2-40B4-BE49-F238E27FC236}">
                <a16:creationId xmlns:a16="http://schemas.microsoft.com/office/drawing/2014/main" id="{57C0AD6E-F1D7-A149-A0FC-DAF36E1FDE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93680" y="7261819"/>
            <a:ext cx="4134612" cy="210312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39" name="Рисунок 2">
            <a:extLst>
              <a:ext uri="{FF2B5EF4-FFF2-40B4-BE49-F238E27FC236}">
                <a16:creationId xmlns:a16="http://schemas.microsoft.com/office/drawing/2014/main" id="{EB2CE1F9-D25E-5543-8864-3A9687FC35C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0394442" y="3949700"/>
            <a:ext cx="2139950" cy="2141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40" name="Текст 8">
            <a:extLst>
              <a:ext uri="{FF2B5EF4-FFF2-40B4-BE49-F238E27FC236}">
                <a16:creationId xmlns:a16="http://schemas.microsoft.com/office/drawing/2014/main" id="{EA195AAF-3E42-0347-9095-DF2A73CA79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93680" y="6621739"/>
            <a:ext cx="4134612" cy="438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 b="1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41" name="Текст 8">
            <a:extLst>
              <a:ext uri="{FF2B5EF4-FFF2-40B4-BE49-F238E27FC236}">
                <a16:creationId xmlns:a16="http://schemas.microsoft.com/office/drawing/2014/main" id="{A8701132-B8B8-DE40-81BE-06BA5765DE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3226" y="7261819"/>
            <a:ext cx="4134612" cy="210312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42" name="Рисунок 2">
            <a:extLst>
              <a:ext uri="{FF2B5EF4-FFF2-40B4-BE49-F238E27FC236}">
                <a16:creationId xmlns:a16="http://schemas.microsoft.com/office/drawing/2014/main" id="{7E432881-2541-8845-BCC6-E44649FE266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5143988" y="3949700"/>
            <a:ext cx="2139950" cy="21415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43" name="Текст 8">
            <a:extLst>
              <a:ext uri="{FF2B5EF4-FFF2-40B4-BE49-F238E27FC236}">
                <a16:creationId xmlns:a16="http://schemas.microsoft.com/office/drawing/2014/main" id="{F74A8EF0-3118-354B-A16C-3B709AC281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143226" y="6621739"/>
            <a:ext cx="4134612" cy="438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 b="1"/>
            </a:lvl1pPr>
          </a:lstStyle>
          <a:p>
            <a:pPr lvl="0"/>
            <a:r>
              <a:rPr lang="ru-RU" dirty="0"/>
              <a:t>Описание</a:t>
            </a:r>
          </a:p>
        </p:txBody>
      </p:sp>
    </p:spTree>
    <p:extLst>
      <p:ext uri="{BB962C8B-B14F-4D97-AF65-F5344CB8AC3E}">
        <p14:creationId xmlns:p14="http://schemas.microsoft.com/office/powerpoint/2010/main" val="20834564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92" b="0" i="0">
                <a:solidFill>
                  <a:srgbClr val="939393"/>
                </a:solidFill>
                <a:latin typeface="Decima Mono Pro"/>
                <a:cs typeface="Decima Mono Pr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394" b="0" i="0">
                <a:solidFill>
                  <a:schemeClr val="tx1"/>
                </a:solidFill>
                <a:latin typeface="DIN Pro Regular"/>
                <a:cs typeface="DIN Pro Regular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5/24/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 lIns="0" tIns="0" rIns="0" bIns="0"/>
          <a:lstStyle>
            <a:lvl1pPr>
              <a:defRPr sz="1795" b="0" i="0">
                <a:solidFill>
                  <a:schemeClr val="tx1"/>
                </a:solidFill>
                <a:latin typeface="Decima Mono Pro"/>
                <a:cs typeface="Decima Mono Pro"/>
              </a:defRPr>
            </a:lvl1pPr>
          </a:lstStyle>
          <a:p>
            <a:pPr marL="57005">
              <a:lnSpc>
                <a:spcPts val="2125"/>
              </a:lnSpc>
            </a:pPr>
            <a:fld id="{81D60167-4931-47E6-BA6A-407CBD079E47}" type="slidenum">
              <a:rPr lang="ru-RU" smtClean="0"/>
              <a:pPr marL="57005">
                <a:lnSpc>
                  <a:spcPts val="2125"/>
                </a:lnSpc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6932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7D9702F-517B-487C-839F-4A00E52EB6DE}" type="datetime1">
              <a:rPr lang="ru-RU" smtClean="0"/>
              <a:t>24.05.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 lIns="0" tIns="0" rIns="0" bIns="0"/>
          <a:lstStyle>
            <a:lvl1pPr marL="55845">
              <a:lnSpc>
                <a:spcPts val="2117"/>
              </a:lnSpc>
              <a:defRPr sz="1759" smtClean="0">
                <a:solidFill>
                  <a:schemeClr val="tx1"/>
                </a:solidFill>
                <a:latin typeface="Decima Mono Pro"/>
                <a:ea typeface="Decima Mono Pro"/>
                <a:cs typeface="Decima Mono Pro"/>
              </a:defRPr>
            </a:lvl1pPr>
          </a:lstStyle>
          <a:p>
            <a:pPr>
              <a:defRPr/>
            </a:pPr>
            <a:fld id="{232D4465-9DBD-4CE5-9F9E-7436CC7DA0C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511741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F88E6-03BF-4B39-8A92-A4B8D9743366}" type="datetime1">
              <a:rPr lang="ru-RU" smtClean="0"/>
              <a:t>24.05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5462218" y="10713253"/>
            <a:ext cx="4690957" cy="602456"/>
          </a:xfrm>
          <a:prstGeom prst="rect">
            <a:avLst/>
          </a:prstGeom>
        </p:spPr>
        <p:txBody>
          <a:bodyPr/>
          <a:lstStyle>
            <a:lvl1pPr>
              <a:defRPr sz="2968" b="1">
                <a:solidFill>
                  <a:schemeClr val="accent2"/>
                </a:solidFill>
              </a:defRPr>
            </a:lvl1pPr>
          </a:lstStyle>
          <a:p>
            <a:fld id="{FC8E32BE-E694-40E4-8857-96FE78ADDC8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78177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Текст+булли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E07A43D9-CEFB-4B40-82CF-92A9B4684C27}"/>
              </a:ext>
            </a:extLst>
          </p:cNvPr>
          <p:cNvCxnSpPr/>
          <p:nvPr userDrawn="1"/>
        </p:nvCxnSpPr>
        <p:spPr>
          <a:xfrm>
            <a:off x="1277448" y="0"/>
            <a:ext cx="0" cy="11315700"/>
          </a:xfrm>
          <a:prstGeom prst="line">
            <a:avLst/>
          </a:prstGeom>
          <a:ln>
            <a:solidFill>
              <a:srgbClr val="4D5759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7">
            <a:extLst>
              <a:ext uri="{FF2B5EF4-FFF2-40B4-BE49-F238E27FC236}">
                <a16:creationId xmlns:a16="http://schemas.microsoft.com/office/drawing/2014/main" id="{B84D812C-1921-4840-82C6-8C00988E03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537" y="798911"/>
            <a:ext cx="780081" cy="780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52823" y="563651"/>
            <a:ext cx="16550758" cy="1178719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5277">
                <a:solidFill>
                  <a:srgbClr val="343B3C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5AF5104-2DE9-4B62-8B70-F4B6D1D17B5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 rot="16200000">
            <a:off x="-1346773" y="8413663"/>
            <a:ext cx="4007644" cy="727727"/>
          </a:xfrm>
        </p:spPr>
        <p:txBody>
          <a:bodyPr/>
          <a:lstStyle>
            <a:lvl1pPr algn="l">
              <a:defRPr sz="1154" cap="all" baseline="0">
                <a:solidFill>
                  <a:srgbClr val="343B3C"/>
                </a:solidFill>
              </a:defRPr>
            </a:lvl1pPr>
          </a:lstStyle>
          <a:p>
            <a:pPr>
              <a:defRPr/>
            </a:pPr>
            <a:r>
              <a:rPr lang="ru-RU"/>
              <a:t>Презентация "Сколково"</a:t>
            </a: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857269C-454F-4948-B319-ED42E86B34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08892" y="5356624"/>
            <a:ext cx="727727" cy="602456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A9776234-315A-43A6-8F96-3AB034C3DB4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854830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ользовательский маке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0E0D160D-A8F2-9746-82B2-DF760B9791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91" y="515377"/>
            <a:ext cx="9741216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212250DD-2917-480A-88E3-5981576493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859851" y="205801"/>
            <a:ext cx="2112373" cy="388922"/>
          </a:xfrm>
          <a:prstGeom prst="rect">
            <a:avLst/>
          </a:prstGeom>
        </p:spPr>
      </p:pic>
      <p:pic>
        <p:nvPicPr>
          <p:cNvPr id="6" name="Picture 2" descr="\\172.20.195.220\для обмена\Ширяева Ольга\мое\система\2020\w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88771" y="352270"/>
            <a:ext cx="1917560" cy="1301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shiryaeva\Desktop\1612513065_86-p-gori (1).png"/>
          <p:cNvPicPr>
            <a:picLocks noChangeAspect="1" noChangeArrowheads="1"/>
          </p:cNvPicPr>
          <p:nvPr userDrawn="1"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4" y="2687521"/>
            <a:ext cx="20263534" cy="8669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 userDrawn="1"/>
        </p:nvSpPr>
        <p:spPr>
          <a:xfrm>
            <a:off x="0" y="2212267"/>
            <a:ext cx="20104100" cy="9103433"/>
          </a:xfrm>
          <a:prstGeom prst="rect">
            <a:avLst/>
          </a:prstGeom>
          <a:solidFill>
            <a:srgbClr val="FFFFFF">
              <a:alpha val="9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309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621C6B0-AE45-0443-A71F-C1E57AB9ECBD}"/>
              </a:ext>
            </a:extLst>
          </p:cNvPr>
          <p:cNvSpPr>
            <a:spLocks noGrp="1"/>
          </p:cNvSpPr>
          <p:nvPr>
            <p:ph type="sldNum" idx="14"/>
          </p:nvPr>
        </p:nvSpPr>
        <p:spPr>
          <a:xfrm>
            <a:off x="15115374" y="10529192"/>
            <a:ext cx="4690957" cy="602456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9526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Вертикальный заголовок и текс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7CC2D474-1EE9-4223-9CEF-9D89C4C806D3}" type="datetimeFigureOut">
              <a:rPr lang="ru-RU"/>
              <a:t>24.05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12541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12">
            <a:extLst>
              <a:ext uri="{FF2B5EF4-FFF2-40B4-BE49-F238E27FC236}">
                <a16:creationId xmlns:a16="http://schemas.microsoft.com/office/drawing/2014/main" id="{176E59AD-EA60-45D2-A4D5-69FB57D22D80}"/>
              </a:ext>
            </a:extLst>
          </p:cNvPr>
          <p:cNvSpPr>
            <a:spLocks noGrp="1"/>
          </p:cNvSpPr>
          <p:nvPr>
            <p:ph type="sldNum" idx="15"/>
          </p:nvPr>
        </p:nvSpPr>
        <p:spPr>
          <a:xfrm>
            <a:off x="14703137" y="10759712"/>
            <a:ext cx="4623943" cy="395969"/>
          </a:xfrm>
        </p:spPr>
        <p:txBody>
          <a:bodyPr/>
          <a:lstStyle>
            <a:lvl1pPr>
              <a:defRPr sz="140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29693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CBC5857-7A11-A64F-969B-ED0F9B208F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12" y="5923756"/>
            <a:ext cx="15078075" cy="273208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98E52E8-821C-9847-BE35-A2100A9BCE7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75391">
            <a:off x="5474785" y="-2762628"/>
            <a:ext cx="17590815" cy="16840956"/>
          </a:xfrm>
          <a:prstGeom prst="rect">
            <a:avLst/>
          </a:prstGeom>
        </p:spPr>
      </p:pic>
      <p:sp>
        <p:nvSpPr>
          <p:cNvPr id="13" name="Заголовок 12">
            <a:extLst>
              <a:ext uri="{FF2B5EF4-FFF2-40B4-BE49-F238E27FC236}">
                <a16:creationId xmlns:a16="http://schemas.microsoft.com/office/drawing/2014/main" id="{0ECE03EB-3B62-9045-9BF8-D5D74EDF8E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8112" y="3471862"/>
            <a:ext cx="17338675" cy="2185988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800" b="1"/>
            </a:lvl1pPr>
          </a:lstStyle>
          <a:p>
            <a:r>
              <a:rPr lang="ru-RU" dirty="0"/>
              <a:t>Образец разделителя</a:t>
            </a:r>
          </a:p>
        </p:txBody>
      </p:sp>
      <p:sp>
        <p:nvSpPr>
          <p:cNvPr id="14" name="Нижний колонтитул 13">
            <a:extLst>
              <a:ext uri="{FF2B5EF4-FFF2-40B4-BE49-F238E27FC236}">
                <a16:creationId xmlns:a16="http://schemas.microsoft.com/office/drawing/2014/main" id="{6B5E0E9F-4543-7448-BBFC-18529CE6E316}"/>
              </a:ext>
            </a:extLst>
          </p:cNvPr>
          <p:cNvSpPr>
            <a:spLocks noGrp="1"/>
          </p:cNvSpPr>
          <p:nvPr>
            <p:ph type="ftr" idx="10"/>
          </p:nvPr>
        </p:nvSpPr>
        <p:spPr>
          <a:xfrm>
            <a:off x="888112" y="10759710"/>
            <a:ext cx="6433312" cy="395969"/>
          </a:xfrm>
          <a:prstGeom prst="rect">
            <a:avLst/>
          </a:prstGeom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15" name="Номер слайда 14">
            <a:extLst>
              <a:ext uri="{FF2B5EF4-FFF2-40B4-BE49-F238E27FC236}">
                <a16:creationId xmlns:a16="http://schemas.microsoft.com/office/drawing/2014/main" id="{84F6E991-D007-BC46-B4E1-45A71E992E31}"/>
              </a:ext>
            </a:extLst>
          </p:cNvPr>
          <p:cNvSpPr>
            <a:spLocks noGrp="1"/>
          </p:cNvSpPr>
          <p:nvPr>
            <p:ph type="sldNum" idx="11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938B5B4-D636-894E-A4BC-34D240BA9D6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8112" y="714058"/>
            <a:ext cx="3177669" cy="118238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5AAB992-4A60-D640-922B-8FE792D118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09876" y="458195"/>
            <a:ext cx="6407295" cy="564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884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2F978BCB-C06E-C042-BB0B-0BA1BBBECB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12" y="3574472"/>
            <a:ext cx="7400004" cy="317178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Подзаголовок 2">
            <a:extLst>
              <a:ext uri="{FF2B5EF4-FFF2-40B4-BE49-F238E27FC236}">
                <a16:creationId xmlns:a16="http://schemas.microsoft.com/office/drawing/2014/main" id="{537C775D-28D4-7A46-807A-3C52090160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12" y="7242047"/>
            <a:ext cx="7400004" cy="248844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6" name="Текст 15">
            <a:extLst>
              <a:ext uri="{FF2B5EF4-FFF2-40B4-BE49-F238E27FC236}">
                <a16:creationId xmlns:a16="http://schemas.microsoft.com/office/drawing/2014/main" id="{6F2E1DA8-13C6-6042-8365-C6074CB127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0336" y="10374313"/>
            <a:ext cx="3678238" cy="5318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rgbClr val="20D7C0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означение версионности документ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F44CA26-D6E2-4B67-97D3-1AE6BDE3BD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987925" y="2301810"/>
            <a:ext cx="7619047" cy="444444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5933C2E-AAF1-4AEE-9ADB-E7B7293D429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385693" y="3094564"/>
            <a:ext cx="8507854" cy="5450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176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475" userDrawn="1">
          <p15:clr>
            <a:srgbClr val="FBAE40"/>
          </p15:clr>
        </p15:guide>
        <p15:guide id="3" orient="horz" pos="6535" userDrawn="1">
          <p15:clr>
            <a:srgbClr val="FBAE40"/>
          </p15:clr>
        </p15:guide>
        <p15:guide id="4" orient="horz" pos="45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AFB213A-41E3-154A-98C1-317359A92F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368146" y="-3407989"/>
            <a:ext cx="15445312" cy="14464127"/>
          </a:xfrm>
          <a:prstGeom prst="rect">
            <a:avLst/>
          </a:prstGeom>
        </p:spPr>
      </p:pic>
      <p:sp>
        <p:nvSpPr>
          <p:cNvPr id="15" name="Номер слайда 14">
            <a:extLst>
              <a:ext uri="{FF2B5EF4-FFF2-40B4-BE49-F238E27FC236}">
                <a16:creationId xmlns:a16="http://schemas.microsoft.com/office/drawing/2014/main" id="{84F6E991-D007-BC46-B4E1-45A71E992E31}"/>
              </a:ext>
            </a:extLst>
          </p:cNvPr>
          <p:cNvSpPr>
            <a:spLocks noGrp="1"/>
          </p:cNvSpPr>
          <p:nvPr>
            <p:ph type="sldNum" idx="11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одзаголовок 2">
            <a:extLst>
              <a:ext uri="{FF2B5EF4-FFF2-40B4-BE49-F238E27FC236}">
                <a16:creationId xmlns:a16="http://schemas.microsoft.com/office/drawing/2014/main" id="{619E01A9-3E43-5241-8B27-5E84F94F01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6400" y="5923756"/>
            <a:ext cx="15078075" cy="273208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2" name="Заголовок 12">
            <a:extLst>
              <a:ext uri="{FF2B5EF4-FFF2-40B4-BE49-F238E27FC236}">
                <a16:creationId xmlns:a16="http://schemas.microsoft.com/office/drawing/2014/main" id="{32B77989-13B4-0345-B00E-3374CF978B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6400" y="3471862"/>
            <a:ext cx="17338675" cy="2185988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800" b="1"/>
            </a:lvl1pPr>
          </a:lstStyle>
          <a:p>
            <a:r>
              <a:rPr lang="ru-RU" dirty="0"/>
              <a:t>Образец разделителя</a:t>
            </a:r>
          </a:p>
        </p:txBody>
      </p:sp>
      <p:sp>
        <p:nvSpPr>
          <p:cNvPr id="16" name="Нижний колонтитул 13">
            <a:extLst>
              <a:ext uri="{FF2B5EF4-FFF2-40B4-BE49-F238E27FC236}">
                <a16:creationId xmlns:a16="http://schemas.microsoft.com/office/drawing/2014/main" id="{D15AFD3C-1B44-9C4A-81E5-17FBA6759FB3}"/>
              </a:ext>
            </a:extLst>
          </p:cNvPr>
          <p:cNvSpPr>
            <a:spLocks noGrp="1"/>
          </p:cNvSpPr>
          <p:nvPr>
            <p:ph type="ftr" idx="10"/>
          </p:nvPr>
        </p:nvSpPr>
        <p:spPr>
          <a:xfrm>
            <a:off x="906400" y="10759710"/>
            <a:ext cx="6433312" cy="395969"/>
          </a:xfrm>
          <a:prstGeom prst="rect">
            <a:avLst/>
          </a:prstGeom>
        </p:spPr>
        <p:txBody>
          <a:bodyPr lIns="0" tIns="0" rIns="0" bIns="0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1414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дзаголовок 2">
            <a:extLst>
              <a:ext uri="{FF2B5EF4-FFF2-40B4-BE49-F238E27FC236}">
                <a16:creationId xmlns:a16="http://schemas.microsoft.com/office/drawing/2014/main" id="{B31CB517-791B-C349-A525-6168E81257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1613" y="5923756"/>
            <a:ext cx="8769552" cy="273208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5" name="Заголовок 12">
            <a:extLst>
              <a:ext uri="{FF2B5EF4-FFF2-40B4-BE49-F238E27FC236}">
                <a16:creationId xmlns:a16="http://schemas.microsoft.com/office/drawing/2014/main" id="{82E44724-F3C5-A44B-A4C0-0BB8A2BF89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1613" y="3471862"/>
            <a:ext cx="8769552" cy="2185988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разделителя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0F0A868-8108-1A42-8EDA-CE2F4F7665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97805" y="-1758684"/>
            <a:ext cx="15018686" cy="15364879"/>
          </a:xfrm>
          <a:prstGeom prst="rect">
            <a:avLst/>
          </a:prstGeom>
        </p:spPr>
      </p:pic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id="{9417760D-21B9-594E-B863-A32ABBFF6424}"/>
              </a:ext>
            </a:extLst>
          </p:cNvPr>
          <p:cNvSpPr>
            <a:spLocks noGrp="1"/>
          </p:cNvSpPr>
          <p:nvPr>
            <p:ph type="ftr" idx="10"/>
          </p:nvPr>
        </p:nvSpPr>
        <p:spPr>
          <a:xfrm>
            <a:off x="941613" y="10759711"/>
            <a:ext cx="6433312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20D7C0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83E484AA-C2CB-E744-84A0-63E84E4BDBE9}"/>
              </a:ext>
            </a:extLst>
          </p:cNvPr>
          <p:cNvSpPr>
            <a:spLocks noGrp="1"/>
          </p:cNvSpPr>
          <p:nvPr>
            <p:ph type="sldNum" idx="11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D7C0"/>
                </a:solidFill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5DED0A0F-6A06-D645-BB7B-B3C096E8F3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2976" y="756372"/>
            <a:ext cx="3049855" cy="110903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9B7880E-B510-F140-B243-89F0042ED8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09876" y="458195"/>
            <a:ext cx="6407295" cy="564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77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">
          <p15:clr>
            <a:srgbClr val="FBAE40"/>
          </p15:clr>
        </p15:guide>
        <p15:guide id="3" orient="horz" pos="6535">
          <p15:clr>
            <a:srgbClr val="FBAE40"/>
          </p15:clr>
        </p15:guide>
        <p15:guide id="4" orient="horz" pos="45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67D9F912-A1AB-8847-86EE-DFA3A3467A70}"/>
              </a:ext>
            </a:extLst>
          </p:cNvPr>
          <p:cNvSpPr>
            <a:spLocks noGrp="1"/>
          </p:cNvSpPr>
          <p:nvPr>
            <p:ph type="sldNum" idx="11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D7C0"/>
                </a:solidFill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A253B6D-528B-4C4E-BB42-F73F086058A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2976" y="756372"/>
            <a:ext cx="3049855" cy="110903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310865D-6844-4147-9F05-E1231503B7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09876" y="458195"/>
            <a:ext cx="6407295" cy="564628"/>
          </a:xfrm>
          <a:prstGeom prst="rect">
            <a:avLst/>
          </a:prstGeom>
        </p:spPr>
      </p:pic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0B82EC68-AEA6-0A43-90FB-56ED8864A6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1613" y="5923756"/>
            <a:ext cx="8769552" cy="273208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2" name="Заголовок 12">
            <a:extLst>
              <a:ext uri="{FF2B5EF4-FFF2-40B4-BE49-F238E27FC236}">
                <a16:creationId xmlns:a16="http://schemas.microsoft.com/office/drawing/2014/main" id="{97EF1A79-3395-9247-9514-6EC3C047F1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1613" y="3471862"/>
            <a:ext cx="8769552" cy="2185988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разделителя</a:t>
            </a:r>
          </a:p>
        </p:txBody>
      </p:sp>
      <p:sp>
        <p:nvSpPr>
          <p:cNvPr id="13" name="Нижний колонтитул 8">
            <a:extLst>
              <a:ext uri="{FF2B5EF4-FFF2-40B4-BE49-F238E27FC236}">
                <a16:creationId xmlns:a16="http://schemas.microsoft.com/office/drawing/2014/main" id="{E90F4487-3ACF-194B-A678-078B67C106E7}"/>
              </a:ext>
            </a:extLst>
          </p:cNvPr>
          <p:cNvSpPr>
            <a:spLocks noGrp="1"/>
          </p:cNvSpPr>
          <p:nvPr>
            <p:ph type="ftr" idx="10"/>
          </p:nvPr>
        </p:nvSpPr>
        <p:spPr>
          <a:xfrm>
            <a:off x="941613" y="10759711"/>
            <a:ext cx="6433312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20D7C0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2081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">
          <p15:clr>
            <a:srgbClr val="FBAE40"/>
          </p15:clr>
        </p15:guide>
        <p15:guide id="3" orient="horz" pos="6535">
          <p15:clr>
            <a:srgbClr val="FBAE40"/>
          </p15:clr>
        </p15:guide>
        <p15:guide id="4" orient="horz" pos="45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13A7DC9-D1AC-874B-B45F-E5CF03ADE6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099" t="15719" r="12464" b="31481"/>
          <a:stretch/>
        </p:blipFill>
        <p:spPr>
          <a:xfrm>
            <a:off x="5163451" y="-2088439"/>
            <a:ext cx="18969642" cy="13404139"/>
          </a:xfrm>
          <a:prstGeom prst="rect">
            <a:avLst/>
          </a:prstGeom>
        </p:spPr>
      </p:pic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9682D4C5-DDB1-4847-AE76-42212B70D76D}"/>
              </a:ext>
            </a:extLst>
          </p:cNvPr>
          <p:cNvSpPr>
            <a:spLocks noGrp="1"/>
          </p:cNvSpPr>
          <p:nvPr>
            <p:ph type="sldNum" idx="11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20D7C0"/>
                </a:solidFill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7927BA8-6461-3E44-879B-33796ACFDC9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2976" y="756372"/>
            <a:ext cx="3049855" cy="110903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8B0058F-50F9-5041-AC23-5BB336A65B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009876" y="458195"/>
            <a:ext cx="6407295" cy="564628"/>
          </a:xfrm>
          <a:prstGeom prst="rect">
            <a:avLst/>
          </a:prstGeom>
        </p:spPr>
      </p:pic>
      <p:sp>
        <p:nvSpPr>
          <p:cNvPr id="13" name="Подзаголовок 2">
            <a:extLst>
              <a:ext uri="{FF2B5EF4-FFF2-40B4-BE49-F238E27FC236}">
                <a16:creationId xmlns:a16="http://schemas.microsoft.com/office/drawing/2014/main" id="{14107C5B-D6F6-9B40-9676-C8C861D75D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1613" y="5923756"/>
            <a:ext cx="8769552" cy="273208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6" name="Заголовок 12">
            <a:extLst>
              <a:ext uri="{FF2B5EF4-FFF2-40B4-BE49-F238E27FC236}">
                <a16:creationId xmlns:a16="http://schemas.microsoft.com/office/drawing/2014/main" id="{1BD850E2-D292-F945-A78D-8B5AA1A545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1613" y="3471862"/>
            <a:ext cx="8769552" cy="2185988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разделителя</a:t>
            </a:r>
          </a:p>
        </p:txBody>
      </p:sp>
      <p:sp>
        <p:nvSpPr>
          <p:cNvPr id="17" name="Нижний колонтитул 8">
            <a:extLst>
              <a:ext uri="{FF2B5EF4-FFF2-40B4-BE49-F238E27FC236}">
                <a16:creationId xmlns:a16="http://schemas.microsoft.com/office/drawing/2014/main" id="{4853B91A-2247-384D-9817-78F55F4998B1}"/>
              </a:ext>
            </a:extLst>
          </p:cNvPr>
          <p:cNvSpPr>
            <a:spLocks noGrp="1"/>
          </p:cNvSpPr>
          <p:nvPr>
            <p:ph type="ftr" idx="10"/>
          </p:nvPr>
        </p:nvSpPr>
        <p:spPr>
          <a:xfrm>
            <a:off x="941613" y="10759711"/>
            <a:ext cx="6433312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20D7C0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9797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1">
          <p15:clr>
            <a:srgbClr val="FBAE40"/>
          </p15:clr>
        </p15:guide>
        <p15:guide id="3" orient="horz" pos="6535">
          <p15:clr>
            <a:srgbClr val="FBAE40"/>
          </p15:clr>
        </p15:guide>
        <p15:guide id="4" orient="horz" pos="45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Пользовательский маке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0E0D160D-A8F2-9746-82B2-DF760B97914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97769" y="5107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377"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212250DD-2917-480A-88E3-5981576493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859851" y="205801"/>
            <a:ext cx="2112373" cy="388922"/>
          </a:xfrm>
          <a:prstGeom prst="rect">
            <a:avLst/>
          </a:prstGeom>
        </p:spPr>
      </p:pic>
      <p:pic>
        <p:nvPicPr>
          <p:cNvPr id="4100" name="Picture 4" descr="C:\Users\shiryaeva\Desktop\1612513065_86-p-gori (1).png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4" y="2687521"/>
            <a:ext cx="20263534" cy="8669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 userDrawn="1"/>
        </p:nvSpPr>
        <p:spPr>
          <a:xfrm>
            <a:off x="0" y="2212267"/>
            <a:ext cx="20104100" cy="9103433"/>
          </a:xfrm>
          <a:prstGeom prst="rect">
            <a:avLst/>
          </a:prstGeom>
          <a:solidFill>
            <a:srgbClr val="FFFFFF">
              <a:alpha val="9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309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621C6B0-AE45-0443-A71F-C1E57AB9ECBD}"/>
              </a:ext>
            </a:extLst>
          </p:cNvPr>
          <p:cNvSpPr>
            <a:spLocks noGrp="1"/>
          </p:cNvSpPr>
          <p:nvPr>
            <p:ph type="sldNum" idx="14"/>
          </p:nvPr>
        </p:nvSpPr>
        <p:spPr>
          <a:xfrm>
            <a:off x="15115374" y="10529192"/>
            <a:ext cx="4690957" cy="602456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42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3"/>
            <a:ext cx="5977224" cy="526729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405103" y="458194"/>
            <a:ext cx="1914137" cy="712237"/>
          </a:xfrm>
          <a:prstGeom prst="rect">
            <a:avLst/>
          </a:prstGeom>
        </p:spPr>
      </p:pic>
      <p:sp>
        <p:nvSpPr>
          <p:cNvPr id="13" name="Номер слайда 12">
            <a:extLst>
              <a:ext uri="{FF2B5EF4-FFF2-40B4-BE49-F238E27FC236}">
                <a16:creationId xmlns:a16="http://schemas.microsoft.com/office/drawing/2014/main" id="{D319601B-829B-944B-A30C-5C66C7935A3F}"/>
              </a:ext>
            </a:extLst>
          </p:cNvPr>
          <p:cNvSpPr>
            <a:spLocks noGrp="1"/>
          </p:cNvSpPr>
          <p:nvPr>
            <p:ph type="sldNum" idx="15"/>
          </p:nvPr>
        </p:nvSpPr>
        <p:spPr>
          <a:xfrm>
            <a:off x="14703136" y="10759710"/>
            <a:ext cx="4623943" cy="39596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Текст 8">
            <a:extLst>
              <a:ext uri="{FF2B5EF4-FFF2-40B4-BE49-F238E27FC236}">
                <a16:creationId xmlns:a16="http://schemas.microsoft.com/office/drawing/2014/main" id="{78A6FFAD-A3FA-204C-A726-FBFF510DBA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89" y="1813822"/>
            <a:ext cx="8793162" cy="91109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4224C223-40FD-5A46-A164-CA3F51484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9741217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6" name="Текст 8">
            <a:extLst>
              <a:ext uri="{FF2B5EF4-FFF2-40B4-BE49-F238E27FC236}">
                <a16:creationId xmlns:a16="http://schemas.microsoft.com/office/drawing/2014/main" id="{27085AA4-F0C5-CF47-8DD5-AB6FF63C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4588" y="2942400"/>
            <a:ext cx="879316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17" name="Текст 8">
            <a:extLst>
              <a:ext uri="{FF2B5EF4-FFF2-40B4-BE49-F238E27FC236}">
                <a16:creationId xmlns:a16="http://schemas.microsoft.com/office/drawing/2014/main" id="{63953D88-C688-0B48-A8A0-24BCDBD844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544366" y="2942400"/>
            <a:ext cx="879316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18" name="Текст 8">
            <a:extLst>
              <a:ext uri="{FF2B5EF4-FFF2-40B4-BE49-F238E27FC236}">
                <a16:creationId xmlns:a16="http://schemas.microsoft.com/office/drawing/2014/main" id="{6C99F359-399D-7748-B91D-8091C1933D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495788" y="1813822"/>
            <a:ext cx="8841739" cy="91109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2740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Текст 8">
            <a:extLst>
              <a:ext uri="{FF2B5EF4-FFF2-40B4-BE49-F238E27FC236}">
                <a16:creationId xmlns:a16="http://schemas.microsoft.com/office/drawing/2014/main" id="{78A6FFAD-A3FA-204C-A726-FBFF510DBA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89" y="1728887"/>
            <a:ext cx="9741216" cy="911090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4224C223-40FD-5A46-A164-CA3F51484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9741217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6" name="Текст 8">
            <a:extLst>
              <a:ext uri="{FF2B5EF4-FFF2-40B4-BE49-F238E27FC236}">
                <a16:creationId xmlns:a16="http://schemas.microsoft.com/office/drawing/2014/main" id="{27085AA4-F0C5-CF47-8DD5-AB6FF63C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4588" y="2942400"/>
            <a:ext cx="1842465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pic>
        <p:nvPicPr>
          <p:cNvPr id="8" name="Рисунок 8">
            <a:extLst>
              <a:ext uri="{FF2B5EF4-FFF2-40B4-BE49-F238E27FC236}">
                <a16:creationId xmlns:a16="http://schemas.microsoft.com/office/drawing/2014/main" id="{BD87D397-6F61-4706-80B4-14F8FC3E8C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19240" y="160021"/>
            <a:ext cx="47307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Номер слайда 3">
            <a:extLst>
              <a:ext uri="{FF2B5EF4-FFF2-40B4-BE49-F238E27FC236}">
                <a16:creationId xmlns:a16="http://schemas.microsoft.com/office/drawing/2014/main" id="{3E8FDA95-A15F-7743-B58C-C0EFE71B4F09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15168372" y="10694394"/>
            <a:ext cx="4623943" cy="395969"/>
          </a:xfrm>
          <a:prstGeom prst="rect">
            <a:avLst/>
          </a:prstGeom>
        </p:spPr>
        <p:txBody>
          <a:bodyPr/>
          <a:lstStyle>
            <a:lvl1pPr algn="r">
              <a:defRPr sz="28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8A66DB2-B154-BD4C-992A-25F7EEE9153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8575564" y="160021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6302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377"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dirty="0"/>
          </a:p>
        </p:txBody>
      </p:sp>
      <p:grpSp>
        <p:nvGrpSpPr>
          <p:cNvPr id="5" name="Группа 2"/>
          <p:cNvGrpSpPr/>
          <p:nvPr userDrawn="1"/>
        </p:nvGrpSpPr>
        <p:grpSpPr bwMode="auto">
          <a:xfrm>
            <a:off x="19020025" y="0"/>
            <a:ext cx="1084076" cy="1618201"/>
            <a:chOff x="7896200" y="0"/>
            <a:chExt cx="1080120" cy="1298908"/>
          </a:xfrm>
          <a:solidFill>
            <a:srgbClr val="2BACBB"/>
          </a:solidFill>
        </p:grpSpPr>
        <p:sp>
          <p:nvSpPr>
            <p:cNvPr id="6" name="Прямоугольник 3"/>
            <p:cNvSpPr/>
            <p:nvPr userDrawn="1"/>
          </p:nvSpPr>
          <p:spPr bwMode="auto">
            <a:xfrm>
              <a:off x="7896200" y="0"/>
              <a:ext cx="1080120" cy="9737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 sz="2309"/>
            </a:p>
          </p:txBody>
        </p:sp>
        <p:sp>
          <p:nvSpPr>
            <p:cNvPr id="7" name="Треугольник 4"/>
            <p:cNvSpPr/>
            <p:nvPr userDrawn="1"/>
          </p:nvSpPr>
          <p:spPr bwMode="auto">
            <a:xfrm rot="10800000">
              <a:off x="7896200" y="970878"/>
              <a:ext cx="1080120" cy="328030"/>
            </a:xfrm>
            <a:prstGeom prst="triangle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 sz="2309"/>
            </a:p>
          </p:txBody>
        </p:sp>
      </p:grpSp>
      <p:sp>
        <p:nvSpPr>
          <p:cNvPr id="8" name="Номер слайда 5"/>
          <p:cNvSpPr txBox="1"/>
          <p:nvPr userDrawn="1"/>
        </p:nvSpPr>
        <p:spPr bwMode="auto">
          <a:xfrm>
            <a:off x="18739017" y="303542"/>
            <a:ext cx="1646089" cy="602456"/>
          </a:xfrm>
          <a:prstGeom prst="rect">
            <a:avLst/>
          </a:prstGeom>
        </p:spPr>
        <p:txBody>
          <a:bodyPr vert="horz" lIns="201036" tIns="100517" rIns="201036" bIns="100517" rtlCol="0" anchor="ctr"/>
          <a:lstStyle>
            <a:defPPr>
              <a:defRPr lang="ru-RU"/>
            </a:defPPr>
            <a:lvl1pPr marL="0" algn="r" defTabSz="914400">
              <a:defRPr sz="16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565C1FED-CD88-4E8F-88D3-4F21940433C3}" type="slidenum">
              <a:rPr lang="ru-RU" sz="3958" b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ctr">
                <a:defRPr/>
              </a:pPr>
              <a:t>‹#›</a:t>
            </a:fld>
            <a:endParaRPr lang="ru-RU" sz="3958" b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2339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3"/>
            <a:ext cx="5977224" cy="526729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7405103" y="458194"/>
            <a:ext cx="1914137" cy="712237"/>
          </a:xfrm>
          <a:prstGeom prst="rect">
            <a:avLst/>
          </a:prstGeom>
        </p:spPr>
      </p:pic>
      <p:sp>
        <p:nvSpPr>
          <p:cNvPr id="13" name="Номер слайда 12">
            <a:extLst>
              <a:ext uri="{FF2B5EF4-FFF2-40B4-BE49-F238E27FC236}">
                <a16:creationId xmlns:a16="http://schemas.microsoft.com/office/drawing/2014/main" id="{D319601B-829B-944B-A30C-5C66C7935A3F}"/>
              </a:ext>
            </a:extLst>
          </p:cNvPr>
          <p:cNvSpPr>
            <a:spLocks noGrp="1"/>
          </p:cNvSpPr>
          <p:nvPr>
            <p:ph type="sldNum" idx="15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Текст 8">
            <a:extLst>
              <a:ext uri="{FF2B5EF4-FFF2-40B4-BE49-F238E27FC236}">
                <a16:creationId xmlns:a16="http://schemas.microsoft.com/office/drawing/2014/main" id="{78A6FFAD-A3FA-204C-A726-FBFF510DBA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107925" y="3344736"/>
            <a:ext cx="8211315" cy="911089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4224C223-40FD-5A46-A164-CA3F51484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07925" y="2271023"/>
            <a:ext cx="8211315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6" name="Текст 8">
            <a:extLst>
              <a:ext uri="{FF2B5EF4-FFF2-40B4-BE49-F238E27FC236}">
                <a16:creationId xmlns:a16="http://schemas.microsoft.com/office/drawing/2014/main" id="{27085AA4-F0C5-CF47-8DD5-AB6FF63C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107925" y="4483209"/>
            <a:ext cx="8211315" cy="5707824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2C0A17A-4977-714A-AE03-EAB92E295D8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0202755" cy="113157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ка </a:t>
            </a:r>
          </a:p>
          <a:p>
            <a:r>
              <a:rPr lang="ru-RU" dirty="0"/>
              <a:t>для изображения</a:t>
            </a:r>
          </a:p>
        </p:txBody>
      </p:sp>
    </p:spTree>
    <p:extLst>
      <p:ext uri="{BB962C8B-B14F-4D97-AF65-F5344CB8AC3E}">
        <p14:creationId xmlns:p14="http://schemas.microsoft.com/office/powerpoint/2010/main" val="28464990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DA75F75-9213-8C44-8789-C54758088D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8000"/>
          </a:blip>
          <a:stretch>
            <a:fillRect/>
          </a:stretch>
        </p:blipFill>
        <p:spPr>
          <a:xfrm>
            <a:off x="8650225" y="-2453964"/>
            <a:ext cx="14708920" cy="13769664"/>
          </a:xfrm>
          <a:prstGeom prst="rect">
            <a:avLst/>
          </a:prstGeom>
        </p:spPr>
      </p:pic>
      <p:sp>
        <p:nvSpPr>
          <p:cNvPr id="7" name="Текст 8">
            <a:extLst>
              <a:ext uri="{FF2B5EF4-FFF2-40B4-BE49-F238E27FC236}">
                <a16:creationId xmlns:a16="http://schemas.microsoft.com/office/drawing/2014/main" id="{125488A5-A119-6D44-AA6D-814F52A7D1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88" y="1589088"/>
            <a:ext cx="9741217" cy="1135824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0E3CFD-2282-1543-A38F-FAD8987C8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9741217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3"/>
            <a:ext cx="5977224" cy="526729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405103" y="458194"/>
            <a:ext cx="1914137" cy="712237"/>
          </a:xfrm>
          <a:prstGeom prst="rect">
            <a:avLst/>
          </a:prstGeom>
        </p:spPr>
      </p:pic>
      <p:sp>
        <p:nvSpPr>
          <p:cNvPr id="12" name="Текст 8">
            <a:extLst>
              <a:ext uri="{FF2B5EF4-FFF2-40B4-BE49-F238E27FC236}">
                <a16:creationId xmlns:a16="http://schemas.microsoft.com/office/drawing/2014/main" id="{FBF59AFA-C127-D745-B4E6-9CCAC856C5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4587" y="2942400"/>
            <a:ext cx="18432491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D80EDFB-818F-1445-A0BB-4BBC6EC8F53F}"/>
              </a:ext>
            </a:extLst>
          </p:cNvPr>
          <p:cNvSpPr>
            <a:spLocks noGrp="1"/>
          </p:cNvSpPr>
          <p:nvPr>
            <p:ph type="sldNum" idx="15"/>
          </p:nvPr>
        </p:nvSpPr>
        <p:spPr>
          <a:xfrm>
            <a:off x="14703136" y="10759710"/>
            <a:ext cx="4623943" cy="39596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68151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bg>
      <p:bgPr>
        <a:blipFill dpi="0" rotWithShape="1">
          <a:blip r:embed="rId2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DA75F75-9213-8C44-8789-C54758088D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8000"/>
          </a:blip>
          <a:stretch>
            <a:fillRect/>
          </a:stretch>
        </p:blipFill>
        <p:spPr>
          <a:xfrm rot="10800000">
            <a:off x="-2925208" y="4296696"/>
            <a:ext cx="10473262" cy="9804479"/>
          </a:xfrm>
          <a:prstGeom prst="rect">
            <a:avLst/>
          </a:prstGeom>
        </p:spPr>
      </p:pic>
      <p:sp>
        <p:nvSpPr>
          <p:cNvPr id="7" name="Текст 8">
            <a:extLst>
              <a:ext uri="{FF2B5EF4-FFF2-40B4-BE49-F238E27FC236}">
                <a16:creationId xmlns:a16="http://schemas.microsoft.com/office/drawing/2014/main" id="{125488A5-A119-6D44-AA6D-814F52A7D1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94588" y="1589088"/>
            <a:ext cx="9741217" cy="1135824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800"/>
            </a:lvl1pPr>
          </a:lstStyle>
          <a:p>
            <a:pPr lvl="0"/>
            <a:r>
              <a:rPr lang="ru-RU" dirty="0"/>
              <a:t>Образец подзаголовка</a:t>
            </a:r>
          </a:p>
          <a:p>
            <a:pPr lvl="0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0E3CFD-2282-1543-A38F-FAD8987C8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9741217" cy="91108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F75912F-EB2E-7D45-91D1-56C338FD0C6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54000"/>
                    </a14:imgEffect>
                    <a14:imgEffect>
                      <a14:brightnessContrast bright="3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815317" y="496093"/>
            <a:ext cx="5977224" cy="526729"/>
          </a:xfrm>
          <a:prstGeom prst="rect">
            <a:avLst/>
          </a:prstGeom>
          <a:noFill/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647436-01C6-6D4D-974C-9E719FED4B9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405103" y="458194"/>
            <a:ext cx="1914137" cy="712237"/>
          </a:xfrm>
          <a:prstGeom prst="rect">
            <a:avLst/>
          </a:prstGeom>
        </p:spPr>
      </p:pic>
      <p:sp>
        <p:nvSpPr>
          <p:cNvPr id="12" name="Текст 8">
            <a:extLst>
              <a:ext uri="{FF2B5EF4-FFF2-40B4-BE49-F238E27FC236}">
                <a16:creationId xmlns:a16="http://schemas.microsoft.com/office/drawing/2014/main" id="{FBF59AFA-C127-D745-B4E6-9CCAC856C5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94588" y="2942400"/>
            <a:ext cx="879316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D80EDFB-818F-1445-A0BB-4BBC6EC8F53F}"/>
              </a:ext>
            </a:extLst>
          </p:cNvPr>
          <p:cNvSpPr>
            <a:spLocks noGrp="1"/>
          </p:cNvSpPr>
          <p:nvPr>
            <p:ph type="sldNum" idx="15"/>
          </p:nvPr>
        </p:nvSpPr>
        <p:spPr>
          <a:xfrm>
            <a:off x="14703136" y="10759710"/>
            <a:ext cx="4623943" cy="39596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3" name="Текст 8">
            <a:extLst>
              <a:ext uri="{FF2B5EF4-FFF2-40B4-BE49-F238E27FC236}">
                <a16:creationId xmlns:a16="http://schemas.microsoft.com/office/drawing/2014/main" id="{54C84263-40A1-BE42-A9FA-C5F2407C32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544366" y="2942400"/>
            <a:ext cx="8793162" cy="7554912"/>
          </a:xfrm>
          <a:prstGeom prst="rect">
            <a:avLst/>
          </a:prstGeom>
        </p:spPr>
        <p:txBody>
          <a:bodyPr lIns="0" tIns="0" rIns="0" bIns="0"/>
          <a:lstStyle>
            <a:lvl1pPr marL="15875" indent="0">
              <a:buNone/>
              <a:tabLst/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53114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6662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56" r:id="rId2"/>
    <p:sldLayoutId id="2147483686" r:id="rId3"/>
    <p:sldLayoutId id="2147483670" r:id="rId4"/>
    <p:sldLayoutId id="2147483675" r:id="rId5"/>
    <p:sldLayoutId id="2147483688" r:id="rId6"/>
    <p:sldLayoutId id="2147483673" r:id="rId7"/>
    <p:sldLayoutId id="2147483671" r:id="rId8"/>
    <p:sldLayoutId id="2147483674" r:id="rId9"/>
    <p:sldLayoutId id="2147483672" r:id="rId10"/>
    <p:sldLayoutId id="2147483676" r:id="rId11"/>
    <p:sldLayoutId id="2147483680" r:id="rId12"/>
    <p:sldLayoutId id="2147483682" r:id="rId13"/>
    <p:sldLayoutId id="2147483687" r:id="rId14"/>
    <p:sldLayoutId id="2147483689" r:id="rId15"/>
    <p:sldLayoutId id="2147483690" r:id="rId16"/>
    <p:sldLayoutId id="2147483691" r:id="rId17"/>
    <p:sldLayoutId id="2147483692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3">
            <a:extLst>
              <a:ext uri="{FF2B5EF4-FFF2-40B4-BE49-F238E27FC236}">
                <a16:creationId xmlns:a16="http://schemas.microsoft.com/office/drawing/2014/main" id="{5F479B8B-10D3-674C-9BA6-DD782C3538CD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14648272" y="10759710"/>
            <a:ext cx="4623943" cy="395969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6734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669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ebiomed.ai/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www.youtube.com/channel/UCObOwO7A_F_LG-DxcCNNFrg/featured" TargetMode="External"/><Relationship Id="rId5" Type="http://schemas.openxmlformats.org/officeDocument/2006/relationships/hyperlink" Target="https://t.me/webiomed" TargetMode="External"/><Relationship Id="rId4" Type="http://schemas.openxmlformats.org/officeDocument/2006/relationships/hyperlink" Target="https://vk.com/webiomed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ebiomed.ai/blog/realizatsiia-natsionalnoi-strategii-iskusstvennogo-intellekta-v-sfere-zdravookhraneniia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18" Type="http://schemas.openxmlformats.org/officeDocument/2006/relationships/chart" Target="../charts/chart1.xml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" Type="http://schemas.openxmlformats.org/officeDocument/2006/relationships/hyperlink" Target="https://webiomed.ru/blog/obzor-rossiiskikh-sistem-iskusstvennogo-intellekta-dlia-zdravookhraneniia/" TargetMode="External"/><Relationship Id="rId16" Type="http://schemas.openxmlformats.org/officeDocument/2006/relationships/image" Target="../media/image43.tif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jpeg"/><Relationship Id="rId15" Type="http://schemas.openxmlformats.org/officeDocument/2006/relationships/image" Target="../media/image4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webiomed.ai/blog/obzor-rossiiskikh-investitsii-v-tsifrovoe-zdravookhranenie/" TargetMode="Externa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hyperlink" Target="https://www.cbinsights.com/research/report/ai-trends-q3-2021" TargetMode="Externa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47.svg"/><Relationship Id="rId7" Type="http://schemas.openxmlformats.org/officeDocument/2006/relationships/image" Target="../media/image51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png"/><Relationship Id="rId5" Type="http://schemas.openxmlformats.org/officeDocument/2006/relationships/image" Target="../media/image49.svg"/><Relationship Id="rId10" Type="http://schemas.openxmlformats.org/officeDocument/2006/relationships/image" Target="../media/image53.jpeg"/><Relationship Id="rId4" Type="http://schemas.openxmlformats.org/officeDocument/2006/relationships/image" Target="../media/image48.png"/><Relationship Id="rId9" Type="http://schemas.openxmlformats.org/officeDocument/2006/relationships/image" Target="../media/image5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B359B50-DDFC-4D67-BCD3-4A0AFF9382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20104100" cy="11308556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ABAF0E-B356-8A4A-BFDC-8AEA703BC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2588" y="2906530"/>
            <a:ext cx="12802348" cy="1143000"/>
          </a:xfrm>
        </p:spPr>
        <p:txBody>
          <a:bodyPr>
            <a:noAutofit/>
          </a:bodyPr>
          <a:lstStyle/>
          <a:p>
            <a:pPr algn="l"/>
            <a:r>
              <a:rPr lang="ru-RU" sz="60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Искусственный интеллект в здравоохранении России: </a:t>
            </a:r>
            <a:br>
              <a:rPr lang="ru-RU" sz="60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ru-RU" sz="60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де и как искать свое место?</a:t>
            </a:r>
          </a:p>
        </p:txBody>
      </p:sp>
      <p:pic>
        <p:nvPicPr>
          <p:cNvPr id="6" name="Рисунок 7">
            <a:extLst>
              <a:ext uri="{FF2B5EF4-FFF2-40B4-BE49-F238E27FC236}">
                <a16:creationId xmlns:a16="http://schemas.microsoft.com/office/drawing/2014/main" id="{A68E1A0B-4312-4210-B31D-21987D0A9E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43058" y="264335"/>
            <a:ext cx="694430" cy="694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\\172.20.195.220\для обмена\Ширяева Ольга\мое\система\2020\wb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827" y="364225"/>
            <a:ext cx="5573426" cy="1189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EBDFE2C-220C-AF48-8948-F4A84D20073A}"/>
              </a:ext>
            </a:extLst>
          </p:cNvPr>
          <p:cNvSpPr txBox="1"/>
          <p:nvPr/>
        </p:nvSpPr>
        <p:spPr>
          <a:xfrm>
            <a:off x="3372588" y="4976666"/>
            <a:ext cx="1373620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>
                <a:solidFill>
                  <a:srgbClr val="B1EC5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усев Александр</a:t>
            </a:r>
            <a:r>
              <a:rPr lang="ru-RU" sz="4400" dirty="0">
                <a:solidFill>
                  <a:srgbClr val="0F639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r>
              <a:rPr lang="ru-RU" sz="3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.т.н., директор по развитию </a:t>
            </a:r>
            <a:r>
              <a:rPr lang="en" sz="3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biomed, </a:t>
            </a:r>
            <a:r>
              <a:rPr lang="ru-RU" sz="3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ерт по искусственному интеллекту ЦНИИОИЗ Минздрава России, старший научный сотрудник НПКЦ ДТТ департамента здравоохранения Москвы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E51599A-68CA-6B66-C56B-96C10EB228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8306" y="7406111"/>
            <a:ext cx="6792383" cy="2549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8052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ACA1D3-A985-CA4B-8A99-352E9BB6E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6464" y="4564856"/>
            <a:ext cx="9733828" cy="836303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 sz="4400" b="1" dirty="0">
                <a:solidFill>
                  <a:schemeClr val="accent2"/>
                </a:solidFill>
              </a:rPr>
              <a:t>КОНТАКТЫ</a:t>
            </a:r>
            <a:endParaRPr lang="ru-RU" sz="4400" dirty="0">
              <a:solidFill>
                <a:schemeClr val="accent2"/>
              </a:solidFill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80C44DC-AA14-4AB3-8851-B0D6FDFA1D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847" y="890115"/>
            <a:ext cx="6721273" cy="1236712"/>
          </a:xfrm>
          <a:prstGeom prst="rect">
            <a:avLst/>
          </a:prstGeom>
        </p:spPr>
      </p:pic>
      <p:sp>
        <p:nvSpPr>
          <p:cNvPr id="27" name="Shape 3905">
            <a:extLst>
              <a:ext uri="{FF2B5EF4-FFF2-40B4-BE49-F238E27FC236}">
                <a16:creationId xmlns:a16="http://schemas.microsoft.com/office/drawing/2014/main" id="{A2E3A1B8-ED34-4F60-9129-D992C9CD3B74}"/>
              </a:ext>
            </a:extLst>
          </p:cNvPr>
          <p:cNvSpPr/>
          <p:nvPr/>
        </p:nvSpPr>
        <p:spPr>
          <a:xfrm>
            <a:off x="1215341" y="6554279"/>
            <a:ext cx="602581" cy="5812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4236" y="10309"/>
                </a:moveTo>
                <a:cubicBezTo>
                  <a:pt x="13552" y="10309"/>
                  <a:pt x="12889" y="10401"/>
                  <a:pt x="12252" y="10556"/>
                </a:cubicBezTo>
                <a:cubicBezTo>
                  <a:pt x="12104" y="10191"/>
                  <a:pt x="11941" y="9834"/>
                  <a:pt x="11763" y="9485"/>
                </a:cubicBezTo>
                <a:cubicBezTo>
                  <a:pt x="12783" y="9001"/>
                  <a:pt x="13728" y="8391"/>
                  <a:pt x="14592" y="7683"/>
                </a:cubicBezTo>
                <a:cubicBezTo>
                  <a:pt x="15222" y="8448"/>
                  <a:pt x="15619" y="9408"/>
                  <a:pt x="15692" y="10457"/>
                </a:cubicBezTo>
                <a:cubicBezTo>
                  <a:pt x="15218" y="10370"/>
                  <a:pt x="14736" y="10309"/>
                  <a:pt x="14236" y="10309"/>
                </a:cubicBezTo>
                <a:moveTo>
                  <a:pt x="13226" y="15065"/>
                </a:moveTo>
                <a:cubicBezTo>
                  <a:pt x="13168" y="13821"/>
                  <a:pt x="12956" y="12619"/>
                  <a:pt x="12590" y="11483"/>
                </a:cubicBezTo>
                <a:cubicBezTo>
                  <a:pt x="13120" y="11361"/>
                  <a:pt x="13670" y="11291"/>
                  <a:pt x="14236" y="11291"/>
                </a:cubicBezTo>
                <a:cubicBezTo>
                  <a:pt x="14726" y="11291"/>
                  <a:pt x="15199" y="11358"/>
                  <a:pt x="15661" y="11451"/>
                </a:cubicBezTo>
                <a:cubicBezTo>
                  <a:pt x="15455" y="13001"/>
                  <a:pt x="14529" y="14322"/>
                  <a:pt x="13226" y="15065"/>
                </a:cubicBezTo>
                <a:moveTo>
                  <a:pt x="10800" y="15709"/>
                </a:moveTo>
                <a:cubicBezTo>
                  <a:pt x="9745" y="15709"/>
                  <a:pt x="8772" y="15374"/>
                  <a:pt x="7972" y="14808"/>
                </a:cubicBezTo>
                <a:cubicBezTo>
                  <a:pt x="8822" y="13429"/>
                  <a:pt x="10108" y="12348"/>
                  <a:pt x="11646" y="11769"/>
                </a:cubicBezTo>
                <a:cubicBezTo>
                  <a:pt x="12027" y="12943"/>
                  <a:pt x="12241" y="14191"/>
                  <a:pt x="12264" y="15488"/>
                </a:cubicBezTo>
                <a:cubicBezTo>
                  <a:pt x="11801" y="15631"/>
                  <a:pt x="11310" y="15709"/>
                  <a:pt x="10800" y="15709"/>
                </a:cubicBezTo>
                <a:moveTo>
                  <a:pt x="5891" y="10800"/>
                </a:moveTo>
                <a:cubicBezTo>
                  <a:pt x="7641" y="10800"/>
                  <a:pt x="9313" y="10470"/>
                  <a:pt x="10852" y="9874"/>
                </a:cubicBezTo>
                <a:cubicBezTo>
                  <a:pt x="11016" y="10192"/>
                  <a:pt x="11171" y="10515"/>
                  <a:pt x="11309" y="10848"/>
                </a:cubicBezTo>
                <a:cubicBezTo>
                  <a:pt x="9614" y="11484"/>
                  <a:pt x="8190" y="12658"/>
                  <a:pt x="7225" y="14157"/>
                </a:cubicBezTo>
                <a:cubicBezTo>
                  <a:pt x="6400" y="13279"/>
                  <a:pt x="5891" y="12100"/>
                  <a:pt x="5891" y="10800"/>
                </a:cubicBezTo>
                <a:moveTo>
                  <a:pt x="8358" y="6546"/>
                </a:moveTo>
                <a:cubicBezTo>
                  <a:pt x="9116" y="7279"/>
                  <a:pt x="9793" y="8099"/>
                  <a:pt x="10353" y="9000"/>
                </a:cubicBezTo>
                <a:cubicBezTo>
                  <a:pt x="8992" y="9509"/>
                  <a:pt x="7526" y="9802"/>
                  <a:pt x="5990" y="9813"/>
                </a:cubicBezTo>
                <a:cubicBezTo>
                  <a:pt x="6276" y="8414"/>
                  <a:pt x="7158" y="7236"/>
                  <a:pt x="8358" y="6546"/>
                </a:cubicBezTo>
                <a:moveTo>
                  <a:pt x="10800" y="5891"/>
                </a:moveTo>
                <a:cubicBezTo>
                  <a:pt x="11968" y="5891"/>
                  <a:pt x="13040" y="6300"/>
                  <a:pt x="13883" y="6982"/>
                </a:cubicBezTo>
                <a:cubicBezTo>
                  <a:pt x="13087" y="7622"/>
                  <a:pt x="12217" y="8175"/>
                  <a:pt x="11281" y="8612"/>
                </a:cubicBezTo>
                <a:cubicBezTo>
                  <a:pt x="10732" y="7702"/>
                  <a:pt x="10072" y="6870"/>
                  <a:pt x="9333" y="6114"/>
                </a:cubicBezTo>
                <a:cubicBezTo>
                  <a:pt x="9797" y="5970"/>
                  <a:pt x="10289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3"/>
                  <a:pt x="7547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gradFill>
            <a:gsLst>
              <a:gs pos="0">
                <a:srgbClr val="4170BA"/>
              </a:gs>
              <a:gs pos="100000">
                <a:srgbClr val="699D4B"/>
              </a:gs>
            </a:gsLst>
            <a:lin ang="2700000" scaled="0"/>
          </a:gradFill>
          <a:ln w="12700">
            <a:miter lim="400000"/>
          </a:ln>
        </p:spPr>
        <p:txBody>
          <a:bodyPr lIns="62825" tIns="62825" rIns="62825" bIns="62825" anchor="ctr"/>
          <a:lstStyle/>
          <a:p>
            <a:endParaRPr sz="2309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0062C2D-DA4A-4578-8D24-C3B73C208617}"/>
              </a:ext>
            </a:extLst>
          </p:cNvPr>
          <p:cNvSpPr txBox="1"/>
          <p:nvPr/>
        </p:nvSpPr>
        <p:spPr>
          <a:xfrm>
            <a:off x="1974868" y="6723073"/>
            <a:ext cx="2306722" cy="24365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97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ebiomed.ru</a:t>
            </a:r>
            <a:endParaRPr lang="en-US" sz="197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Shape 3613">
            <a:extLst>
              <a:ext uri="{FF2B5EF4-FFF2-40B4-BE49-F238E27FC236}">
                <a16:creationId xmlns:a16="http://schemas.microsoft.com/office/drawing/2014/main" id="{292576A8-0667-48BA-8887-57BF79B54E43}"/>
              </a:ext>
            </a:extLst>
          </p:cNvPr>
          <p:cNvSpPr/>
          <p:nvPr/>
        </p:nvSpPr>
        <p:spPr>
          <a:xfrm>
            <a:off x="6533216" y="6582797"/>
            <a:ext cx="462665" cy="4626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gradFill>
            <a:gsLst>
              <a:gs pos="0">
                <a:srgbClr val="4170BA"/>
              </a:gs>
              <a:gs pos="100000">
                <a:srgbClr val="699D4B"/>
              </a:gs>
            </a:gsLst>
            <a:lin ang="2700000" scaled="0"/>
          </a:gradFill>
          <a:ln w="12700">
            <a:miter lim="400000"/>
          </a:ln>
        </p:spPr>
        <p:txBody>
          <a:bodyPr lIns="62825" tIns="62825" rIns="62825" bIns="62825" anchor="ctr"/>
          <a:lstStyle/>
          <a:p>
            <a:endParaRPr sz="2309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AE89BC06-87C7-4F8F-B936-8D71546C48ED}"/>
              </a:ext>
            </a:extLst>
          </p:cNvPr>
          <p:cNvGrpSpPr/>
          <p:nvPr/>
        </p:nvGrpSpPr>
        <p:grpSpPr>
          <a:xfrm>
            <a:off x="7241888" y="6576331"/>
            <a:ext cx="6076105" cy="746271"/>
            <a:chOff x="2258786" y="3660325"/>
            <a:chExt cx="3684814" cy="452571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9691E3C-3A01-413C-B679-ECDE833C902A}"/>
                </a:ext>
              </a:extLst>
            </p:cNvPr>
            <p:cNvSpPr txBox="1"/>
            <p:nvPr/>
          </p:nvSpPr>
          <p:spPr>
            <a:xfrm>
              <a:off x="2258786" y="3660325"/>
              <a:ext cx="3684814" cy="2308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ru-RU" sz="2309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Контакте</a:t>
              </a:r>
              <a:endParaRPr lang="en-US" sz="2309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3748DE6-C2B5-4CEF-A6D4-AC6498564744}"/>
                </a:ext>
              </a:extLst>
            </p:cNvPr>
            <p:cNvSpPr txBox="1"/>
            <p:nvPr/>
          </p:nvSpPr>
          <p:spPr>
            <a:xfrm>
              <a:off x="2258786" y="3873519"/>
              <a:ext cx="2904229" cy="239377"/>
            </a:xfrm>
            <a:prstGeom prst="rect">
              <a:avLst/>
            </a:prstGeom>
            <a:noFill/>
          </p:spPr>
          <p:txBody>
            <a:bodyPr wrap="square" lIns="0" tIns="0" rIns="150781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979" dirty="0">
                  <a:solidFill>
                    <a:schemeClr val="tx1">
                      <a:alpha val="6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vk.com/webiomed</a:t>
              </a:r>
              <a:r>
                <a:rPr lang="en-US" sz="1979" dirty="0">
                  <a:solidFill>
                    <a:schemeClr val="tx1">
                      <a:alpha val="6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CF4236B3-9400-4AC9-9284-DB58267C1B3C}"/>
              </a:ext>
            </a:extLst>
          </p:cNvPr>
          <p:cNvGrpSpPr/>
          <p:nvPr/>
        </p:nvGrpSpPr>
        <p:grpSpPr>
          <a:xfrm>
            <a:off x="7286443" y="7692222"/>
            <a:ext cx="6076105" cy="746271"/>
            <a:chOff x="2258786" y="3660325"/>
            <a:chExt cx="3684814" cy="452571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22C33D8-9C9A-430B-B035-CAA95244025E}"/>
                </a:ext>
              </a:extLst>
            </p:cNvPr>
            <p:cNvSpPr txBox="1"/>
            <p:nvPr/>
          </p:nvSpPr>
          <p:spPr>
            <a:xfrm>
              <a:off x="2258786" y="3660325"/>
              <a:ext cx="3684814" cy="2308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2309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elegram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F100853-94B4-4A18-B9F3-16B2FD36DFD2}"/>
                </a:ext>
              </a:extLst>
            </p:cNvPr>
            <p:cNvSpPr txBox="1"/>
            <p:nvPr/>
          </p:nvSpPr>
          <p:spPr>
            <a:xfrm>
              <a:off x="2258786" y="3873519"/>
              <a:ext cx="3129459" cy="239377"/>
            </a:xfrm>
            <a:prstGeom prst="rect">
              <a:avLst/>
            </a:prstGeom>
            <a:noFill/>
          </p:spPr>
          <p:txBody>
            <a:bodyPr wrap="square" lIns="0" tIns="0" rIns="150781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979" dirty="0">
                  <a:solidFill>
                    <a:schemeClr val="tx1">
                      <a:alpha val="6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t.me/webiomed</a:t>
              </a:r>
              <a:r>
                <a:rPr lang="en-US" sz="1979" dirty="0">
                  <a:solidFill>
                    <a:schemeClr val="tx1">
                      <a:alpha val="6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</a:p>
          </p:txBody>
        </p:sp>
      </p:grpSp>
      <p:sp>
        <p:nvSpPr>
          <p:cNvPr id="36" name="Shape 3900">
            <a:extLst>
              <a:ext uri="{FF2B5EF4-FFF2-40B4-BE49-F238E27FC236}">
                <a16:creationId xmlns:a16="http://schemas.microsoft.com/office/drawing/2014/main" id="{21FBA6AA-5551-4213-AEA7-7B69B3AC758B}"/>
              </a:ext>
            </a:extLst>
          </p:cNvPr>
          <p:cNvSpPr/>
          <p:nvPr/>
        </p:nvSpPr>
        <p:spPr>
          <a:xfrm>
            <a:off x="6571582" y="7739500"/>
            <a:ext cx="462665" cy="4626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591" y="13291"/>
                </a:moveTo>
                <a:cubicBezTo>
                  <a:pt x="11452" y="13214"/>
                  <a:pt x="11342" y="13108"/>
                  <a:pt x="11291" y="12978"/>
                </a:cubicBezTo>
                <a:cubicBezTo>
                  <a:pt x="11284" y="12956"/>
                  <a:pt x="11290" y="10299"/>
                  <a:pt x="11290" y="10299"/>
                </a:cubicBezTo>
                <a:lnTo>
                  <a:pt x="13256" y="10299"/>
                </a:lnTo>
                <a:lnTo>
                  <a:pt x="13256" y="8836"/>
                </a:lnTo>
                <a:lnTo>
                  <a:pt x="11292" y="8836"/>
                </a:lnTo>
                <a:lnTo>
                  <a:pt x="11292" y="6873"/>
                </a:lnTo>
                <a:lnTo>
                  <a:pt x="10042" y="6879"/>
                </a:lnTo>
                <a:cubicBezTo>
                  <a:pt x="9988" y="7284"/>
                  <a:pt x="9891" y="7618"/>
                  <a:pt x="9750" y="7879"/>
                </a:cubicBezTo>
                <a:cubicBezTo>
                  <a:pt x="9608" y="8142"/>
                  <a:pt x="9420" y="8367"/>
                  <a:pt x="9187" y="8554"/>
                </a:cubicBezTo>
                <a:cubicBezTo>
                  <a:pt x="8953" y="8740"/>
                  <a:pt x="8672" y="8883"/>
                  <a:pt x="8344" y="8984"/>
                </a:cubicBezTo>
                <a:lnTo>
                  <a:pt x="8345" y="10309"/>
                </a:lnTo>
                <a:lnTo>
                  <a:pt x="9328" y="10299"/>
                </a:lnTo>
                <a:lnTo>
                  <a:pt x="9328" y="12846"/>
                </a:lnTo>
                <a:cubicBezTo>
                  <a:pt x="9328" y="13205"/>
                  <a:pt x="9369" y="13478"/>
                  <a:pt x="9448" y="13667"/>
                </a:cubicBezTo>
                <a:cubicBezTo>
                  <a:pt x="9528" y="13856"/>
                  <a:pt x="9671" y="14034"/>
                  <a:pt x="9879" y="14202"/>
                </a:cubicBezTo>
                <a:cubicBezTo>
                  <a:pt x="10086" y="14370"/>
                  <a:pt x="10336" y="14498"/>
                  <a:pt x="10629" y="14589"/>
                </a:cubicBezTo>
                <a:cubicBezTo>
                  <a:pt x="10922" y="14679"/>
                  <a:pt x="11238" y="14727"/>
                  <a:pt x="11620" y="14727"/>
                </a:cubicBezTo>
                <a:cubicBezTo>
                  <a:pt x="11955" y="14727"/>
                  <a:pt x="12228" y="14693"/>
                  <a:pt x="12517" y="14629"/>
                </a:cubicBezTo>
                <a:cubicBezTo>
                  <a:pt x="12806" y="14566"/>
                  <a:pt x="13221" y="14455"/>
                  <a:pt x="13578" y="14297"/>
                </a:cubicBezTo>
                <a:lnTo>
                  <a:pt x="13583" y="13091"/>
                </a:lnTo>
                <a:cubicBezTo>
                  <a:pt x="13165" y="13349"/>
                  <a:pt x="12648" y="13447"/>
                  <a:pt x="12225" y="13447"/>
                </a:cubicBezTo>
                <a:cubicBezTo>
                  <a:pt x="11987" y="13447"/>
                  <a:pt x="11776" y="13395"/>
                  <a:pt x="11591" y="13291"/>
                </a:cubicBezTo>
              </a:path>
            </a:pathLst>
          </a:custGeom>
          <a:gradFill>
            <a:gsLst>
              <a:gs pos="0">
                <a:srgbClr val="4170BA"/>
              </a:gs>
              <a:gs pos="100000">
                <a:srgbClr val="699D4B"/>
              </a:gs>
            </a:gsLst>
            <a:lin ang="2700000" scaled="0"/>
          </a:gradFill>
          <a:ln w="12700">
            <a:miter lim="400000"/>
          </a:ln>
        </p:spPr>
        <p:txBody>
          <a:bodyPr lIns="62825" tIns="62825" rIns="62825" bIns="62825" anchor="ctr"/>
          <a:lstStyle/>
          <a:p>
            <a:endParaRPr sz="2309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Shape 3895">
            <a:extLst>
              <a:ext uri="{FF2B5EF4-FFF2-40B4-BE49-F238E27FC236}">
                <a16:creationId xmlns:a16="http://schemas.microsoft.com/office/drawing/2014/main" id="{1DC7AE3D-4293-4DAF-A8B4-0A385AD73E1D}"/>
              </a:ext>
            </a:extLst>
          </p:cNvPr>
          <p:cNvSpPr/>
          <p:nvPr/>
        </p:nvSpPr>
        <p:spPr>
          <a:xfrm>
            <a:off x="6574134" y="8772371"/>
            <a:ext cx="460114" cy="4601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324" y="12091"/>
                </a:moveTo>
                <a:cubicBezTo>
                  <a:pt x="14020" y="12091"/>
                  <a:pt x="14020" y="12428"/>
                  <a:pt x="14020" y="12428"/>
                </a:cubicBezTo>
                <a:lnTo>
                  <a:pt x="14020" y="12863"/>
                </a:lnTo>
                <a:lnTo>
                  <a:pt x="14629" y="12863"/>
                </a:lnTo>
                <a:lnTo>
                  <a:pt x="14629" y="12428"/>
                </a:lnTo>
                <a:cubicBezTo>
                  <a:pt x="14629" y="12428"/>
                  <a:pt x="14629" y="12091"/>
                  <a:pt x="14324" y="12091"/>
                </a:cubicBezTo>
                <a:moveTo>
                  <a:pt x="15287" y="12380"/>
                </a:moveTo>
                <a:lnTo>
                  <a:pt x="15287" y="13348"/>
                </a:lnTo>
                <a:lnTo>
                  <a:pt x="14020" y="13348"/>
                </a:lnTo>
                <a:lnTo>
                  <a:pt x="14020" y="14072"/>
                </a:lnTo>
                <a:cubicBezTo>
                  <a:pt x="14020" y="14072"/>
                  <a:pt x="14020" y="14411"/>
                  <a:pt x="14324" y="14411"/>
                </a:cubicBezTo>
                <a:cubicBezTo>
                  <a:pt x="14629" y="14411"/>
                  <a:pt x="14629" y="14072"/>
                  <a:pt x="14629" y="14072"/>
                </a:cubicBezTo>
                <a:lnTo>
                  <a:pt x="14629" y="13734"/>
                </a:lnTo>
                <a:lnTo>
                  <a:pt x="15287" y="13734"/>
                </a:lnTo>
                <a:lnTo>
                  <a:pt x="15287" y="14266"/>
                </a:lnTo>
                <a:cubicBezTo>
                  <a:pt x="15287" y="14266"/>
                  <a:pt x="15186" y="14943"/>
                  <a:pt x="14375" y="14943"/>
                </a:cubicBezTo>
                <a:cubicBezTo>
                  <a:pt x="13563" y="14943"/>
                  <a:pt x="13411" y="14266"/>
                  <a:pt x="13411" y="14266"/>
                </a:cubicBezTo>
                <a:lnTo>
                  <a:pt x="13411" y="12380"/>
                </a:lnTo>
                <a:cubicBezTo>
                  <a:pt x="13411" y="12380"/>
                  <a:pt x="13411" y="11558"/>
                  <a:pt x="14375" y="11558"/>
                </a:cubicBezTo>
                <a:cubicBezTo>
                  <a:pt x="15338" y="11558"/>
                  <a:pt x="15287" y="12380"/>
                  <a:pt x="15287" y="12380"/>
                </a:cubicBezTo>
                <a:moveTo>
                  <a:pt x="12904" y="14169"/>
                </a:moveTo>
                <a:cubicBezTo>
                  <a:pt x="12904" y="14169"/>
                  <a:pt x="12904" y="14943"/>
                  <a:pt x="12347" y="14943"/>
                </a:cubicBezTo>
                <a:cubicBezTo>
                  <a:pt x="12005" y="14943"/>
                  <a:pt x="11798" y="14762"/>
                  <a:pt x="11687" y="14622"/>
                </a:cubicBezTo>
                <a:lnTo>
                  <a:pt x="11687" y="14895"/>
                </a:lnTo>
                <a:lnTo>
                  <a:pt x="11028" y="14895"/>
                </a:lnTo>
                <a:lnTo>
                  <a:pt x="11028" y="10446"/>
                </a:lnTo>
                <a:lnTo>
                  <a:pt x="11687" y="10446"/>
                </a:lnTo>
                <a:lnTo>
                  <a:pt x="11687" y="11888"/>
                </a:lnTo>
                <a:cubicBezTo>
                  <a:pt x="11789" y="11782"/>
                  <a:pt x="12036" y="11558"/>
                  <a:pt x="12347" y="11558"/>
                </a:cubicBezTo>
                <a:cubicBezTo>
                  <a:pt x="12752" y="11558"/>
                  <a:pt x="12904" y="11897"/>
                  <a:pt x="12904" y="12332"/>
                </a:cubicBezTo>
                <a:cubicBezTo>
                  <a:pt x="12904" y="12332"/>
                  <a:pt x="12904" y="14169"/>
                  <a:pt x="12904" y="14169"/>
                </a:cubicBezTo>
                <a:close/>
                <a:moveTo>
                  <a:pt x="10521" y="14895"/>
                </a:moveTo>
                <a:lnTo>
                  <a:pt x="9913" y="14895"/>
                </a:lnTo>
                <a:lnTo>
                  <a:pt x="9913" y="14605"/>
                </a:lnTo>
                <a:cubicBezTo>
                  <a:pt x="9913" y="14605"/>
                  <a:pt x="9558" y="14943"/>
                  <a:pt x="9152" y="14943"/>
                </a:cubicBezTo>
                <a:cubicBezTo>
                  <a:pt x="8747" y="14943"/>
                  <a:pt x="8696" y="14557"/>
                  <a:pt x="8696" y="14557"/>
                </a:cubicBezTo>
                <a:lnTo>
                  <a:pt x="8696" y="11558"/>
                </a:lnTo>
                <a:lnTo>
                  <a:pt x="9304" y="11558"/>
                </a:lnTo>
                <a:lnTo>
                  <a:pt x="9304" y="14363"/>
                </a:lnTo>
                <a:cubicBezTo>
                  <a:pt x="9304" y="14363"/>
                  <a:pt x="9304" y="14508"/>
                  <a:pt x="9507" y="14508"/>
                </a:cubicBezTo>
                <a:cubicBezTo>
                  <a:pt x="9710" y="14508"/>
                  <a:pt x="9913" y="14266"/>
                  <a:pt x="9913" y="14266"/>
                </a:cubicBezTo>
                <a:lnTo>
                  <a:pt x="9913" y="11558"/>
                </a:lnTo>
                <a:lnTo>
                  <a:pt x="10521" y="11558"/>
                </a:lnTo>
                <a:cubicBezTo>
                  <a:pt x="10521" y="11558"/>
                  <a:pt x="10521" y="14895"/>
                  <a:pt x="10521" y="14895"/>
                </a:cubicBezTo>
                <a:close/>
                <a:moveTo>
                  <a:pt x="8595" y="11074"/>
                </a:moveTo>
                <a:lnTo>
                  <a:pt x="7834" y="11074"/>
                </a:lnTo>
                <a:lnTo>
                  <a:pt x="7834" y="14895"/>
                </a:lnTo>
                <a:lnTo>
                  <a:pt x="7124" y="14895"/>
                </a:lnTo>
                <a:lnTo>
                  <a:pt x="7124" y="11074"/>
                </a:lnTo>
                <a:lnTo>
                  <a:pt x="6364" y="11074"/>
                </a:lnTo>
                <a:lnTo>
                  <a:pt x="6364" y="10446"/>
                </a:lnTo>
                <a:lnTo>
                  <a:pt x="8595" y="10446"/>
                </a:lnTo>
                <a:cubicBezTo>
                  <a:pt x="8595" y="10446"/>
                  <a:pt x="8595" y="11074"/>
                  <a:pt x="8595" y="11074"/>
                </a:cubicBezTo>
                <a:close/>
                <a:moveTo>
                  <a:pt x="14527" y="9431"/>
                </a:moveTo>
                <a:cubicBezTo>
                  <a:pt x="14527" y="9431"/>
                  <a:pt x="12667" y="9334"/>
                  <a:pt x="10800" y="9334"/>
                </a:cubicBezTo>
                <a:cubicBezTo>
                  <a:pt x="8940" y="9334"/>
                  <a:pt x="7074" y="9431"/>
                  <a:pt x="7074" y="9431"/>
                </a:cubicBezTo>
                <a:cubicBezTo>
                  <a:pt x="6233" y="9431"/>
                  <a:pt x="5552" y="10080"/>
                  <a:pt x="5552" y="10881"/>
                </a:cubicBezTo>
                <a:cubicBezTo>
                  <a:pt x="5552" y="10881"/>
                  <a:pt x="5400" y="11822"/>
                  <a:pt x="5400" y="12767"/>
                </a:cubicBezTo>
                <a:cubicBezTo>
                  <a:pt x="5400" y="13708"/>
                  <a:pt x="5552" y="14652"/>
                  <a:pt x="5552" y="14652"/>
                </a:cubicBezTo>
                <a:cubicBezTo>
                  <a:pt x="5552" y="15454"/>
                  <a:pt x="6233" y="16103"/>
                  <a:pt x="7074" y="16103"/>
                </a:cubicBezTo>
                <a:cubicBezTo>
                  <a:pt x="7074" y="16103"/>
                  <a:pt x="8904" y="16200"/>
                  <a:pt x="10800" y="16200"/>
                </a:cubicBezTo>
                <a:cubicBezTo>
                  <a:pt x="12630" y="16200"/>
                  <a:pt x="14527" y="16103"/>
                  <a:pt x="14527" y="16103"/>
                </a:cubicBezTo>
                <a:cubicBezTo>
                  <a:pt x="15367" y="16103"/>
                  <a:pt x="16048" y="15454"/>
                  <a:pt x="16048" y="14652"/>
                </a:cubicBezTo>
                <a:cubicBezTo>
                  <a:pt x="16048" y="14652"/>
                  <a:pt x="16200" y="13700"/>
                  <a:pt x="16200" y="12767"/>
                </a:cubicBezTo>
                <a:cubicBezTo>
                  <a:pt x="16200" y="11814"/>
                  <a:pt x="16048" y="10881"/>
                  <a:pt x="16048" y="10881"/>
                </a:cubicBezTo>
                <a:cubicBezTo>
                  <a:pt x="16048" y="10080"/>
                  <a:pt x="15367" y="9431"/>
                  <a:pt x="14527" y="9431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8"/>
                  <a:pt x="5377" y="982"/>
                  <a:pt x="10800" y="982"/>
                </a:cubicBezTo>
                <a:cubicBezTo>
                  <a:pt x="16223" y="982"/>
                  <a:pt x="20618" y="537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moveTo>
                  <a:pt x="11992" y="12091"/>
                </a:moveTo>
                <a:cubicBezTo>
                  <a:pt x="11860" y="12091"/>
                  <a:pt x="11757" y="12168"/>
                  <a:pt x="11687" y="12243"/>
                </a:cubicBezTo>
                <a:lnTo>
                  <a:pt x="11687" y="14277"/>
                </a:lnTo>
                <a:cubicBezTo>
                  <a:pt x="11751" y="14345"/>
                  <a:pt x="11847" y="14411"/>
                  <a:pt x="11992" y="14411"/>
                </a:cubicBezTo>
                <a:cubicBezTo>
                  <a:pt x="12296" y="14411"/>
                  <a:pt x="12296" y="14072"/>
                  <a:pt x="12296" y="14072"/>
                </a:cubicBezTo>
                <a:lnTo>
                  <a:pt x="12296" y="12428"/>
                </a:lnTo>
                <a:cubicBezTo>
                  <a:pt x="12296" y="12428"/>
                  <a:pt x="12245" y="12091"/>
                  <a:pt x="11992" y="12091"/>
                </a:cubicBezTo>
                <a:moveTo>
                  <a:pt x="7986" y="8751"/>
                </a:moveTo>
                <a:lnTo>
                  <a:pt x="8696" y="8751"/>
                </a:lnTo>
                <a:lnTo>
                  <a:pt x="8696" y="7188"/>
                </a:lnTo>
                <a:lnTo>
                  <a:pt x="9507" y="4970"/>
                </a:lnTo>
                <a:lnTo>
                  <a:pt x="8848" y="4970"/>
                </a:lnTo>
                <a:lnTo>
                  <a:pt x="8341" y="6433"/>
                </a:lnTo>
                <a:lnTo>
                  <a:pt x="7834" y="4970"/>
                </a:lnTo>
                <a:lnTo>
                  <a:pt x="7124" y="4970"/>
                </a:lnTo>
                <a:lnTo>
                  <a:pt x="7986" y="7188"/>
                </a:lnTo>
                <a:cubicBezTo>
                  <a:pt x="7986" y="7188"/>
                  <a:pt x="7986" y="8751"/>
                  <a:pt x="7986" y="8751"/>
                </a:cubicBezTo>
                <a:close/>
                <a:moveTo>
                  <a:pt x="12397" y="8802"/>
                </a:moveTo>
                <a:cubicBezTo>
                  <a:pt x="12802" y="8802"/>
                  <a:pt x="13158" y="8449"/>
                  <a:pt x="13158" y="8449"/>
                </a:cubicBezTo>
                <a:lnTo>
                  <a:pt x="13158" y="8751"/>
                </a:lnTo>
                <a:lnTo>
                  <a:pt x="13766" y="8751"/>
                </a:lnTo>
                <a:lnTo>
                  <a:pt x="13766" y="5878"/>
                </a:lnTo>
                <a:lnTo>
                  <a:pt x="13158" y="5878"/>
                </a:lnTo>
                <a:lnTo>
                  <a:pt x="13158" y="8096"/>
                </a:lnTo>
                <a:cubicBezTo>
                  <a:pt x="13158" y="8096"/>
                  <a:pt x="12954" y="8348"/>
                  <a:pt x="12752" y="8348"/>
                </a:cubicBezTo>
                <a:cubicBezTo>
                  <a:pt x="12549" y="8348"/>
                  <a:pt x="12549" y="8197"/>
                  <a:pt x="12549" y="8197"/>
                </a:cubicBezTo>
                <a:lnTo>
                  <a:pt x="12549" y="5878"/>
                </a:lnTo>
                <a:lnTo>
                  <a:pt x="11941" y="5878"/>
                </a:lnTo>
                <a:lnTo>
                  <a:pt x="11941" y="8398"/>
                </a:lnTo>
                <a:cubicBezTo>
                  <a:pt x="11941" y="8398"/>
                  <a:pt x="11992" y="8802"/>
                  <a:pt x="12397" y="8802"/>
                </a:cubicBezTo>
                <a:moveTo>
                  <a:pt x="10166" y="6634"/>
                </a:moveTo>
                <a:cubicBezTo>
                  <a:pt x="10166" y="6467"/>
                  <a:pt x="10302" y="6332"/>
                  <a:pt x="10470" y="6332"/>
                </a:cubicBezTo>
                <a:cubicBezTo>
                  <a:pt x="10639" y="6332"/>
                  <a:pt x="10775" y="6467"/>
                  <a:pt x="10775" y="6634"/>
                </a:cubicBezTo>
                <a:lnTo>
                  <a:pt x="10775" y="8045"/>
                </a:lnTo>
                <a:cubicBezTo>
                  <a:pt x="10775" y="8212"/>
                  <a:pt x="10639" y="8348"/>
                  <a:pt x="10470" y="8348"/>
                </a:cubicBezTo>
                <a:cubicBezTo>
                  <a:pt x="10302" y="8348"/>
                  <a:pt x="10166" y="8212"/>
                  <a:pt x="10166" y="8045"/>
                </a:cubicBezTo>
                <a:cubicBezTo>
                  <a:pt x="10166" y="8045"/>
                  <a:pt x="10166" y="6634"/>
                  <a:pt x="10166" y="6634"/>
                </a:cubicBezTo>
                <a:close/>
                <a:moveTo>
                  <a:pt x="10369" y="8802"/>
                </a:moveTo>
                <a:lnTo>
                  <a:pt x="10572" y="8802"/>
                </a:lnTo>
                <a:cubicBezTo>
                  <a:pt x="11020" y="8802"/>
                  <a:pt x="11383" y="8440"/>
                  <a:pt x="11383" y="7995"/>
                </a:cubicBezTo>
                <a:lnTo>
                  <a:pt x="11383" y="6685"/>
                </a:lnTo>
                <a:cubicBezTo>
                  <a:pt x="11383" y="6239"/>
                  <a:pt x="11020" y="5878"/>
                  <a:pt x="10572" y="5878"/>
                </a:cubicBezTo>
                <a:lnTo>
                  <a:pt x="10369" y="5878"/>
                </a:lnTo>
                <a:cubicBezTo>
                  <a:pt x="9921" y="5878"/>
                  <a:pt x="9558" y="6239"/>
                  <a:pt x="9558" y="6685"/>
                </a:cubicBezTo>
                <a:lnTo>
                  <a:pt x="9558" y="7995"/>
                </a:lnTo>
                <a:cubicBezTo>
                  <a:pt x="9558" y="8440"/>
                  <a:pt x="9921" y="8802"/>
                  <a:pt x="10369" y="8802"/>
                </a:cubicBezTo>
              </a:path>
            </a:pathLst>
          </a:custGeom>
          <a:gradFill>
            <a:gsLst>
              <a:gs pos="0">
                <a:srgbClr val="4170BA"/>
              </a:gs>
              <a:gs pos="100000">
                <a:srgbClr val="699D4B"/>
              </a:gs>
            </a:gsLst>
            <a:lin ang="2700000" scaled="0"/>
          </a:gradFill>
          <a:ln w="12700">
            <a:miter lim="400000"/>
          </a:ln>
        </p:spPr>
        <p:txBody>
          <a:bodyPr lIns="62825" tIns="62825" rIns="62825" bIns="62825" anchor="ctr"/>
          <a:lstStyle/>
          <a:p>
            <a:endParaRPr sz="2309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0B053CAB-2585-43F2-AF9C-E48BADF3A031}"/>
              </a:ext>
            </a:extLst>
          </p:cNvPr>
          <p:cNvGrpSpPr/>
          <p:nvPr/>
        </p:nvGrpSpPr>
        <p:grpSpPr>
          <a:xfrm>
            <a:off x="7286443" y="8715631"/>
            <a:ext cx="6076105" cy="746271"/>
            <a:chOff x="2258786" y="3660325"/>
            <a:chExt cx="3684814" cy="452571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A54FC1D-D9E3-43E2-8EEF-FA1E02AC5AE0}"/>
                </a:ext>
              </a:extLst>
            </p:cNvPr>
            <p:cNvSpPr txBox="1"/>
            <p:nvPr/>
          </p:nvSpPr>
          <p:spPr>
            <a:xfrm>
              <a:off x="2258786" y="3660325"/>
              <a:ext cx="3684814" cy="2308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2309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YouTube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544FC297-7F42-4DB6-9C59-7A1F9E81C52C}"/>
                </a:ext>
              </a:extLst>
            </p:cNvPr>
            <p:cNvSpPr txBox="1"/>
            <p:nvPr/>
          </p:nvSpPr>
          <p:spPr>
            <a:xfrm>
              <a:off x="2258786" y="3873519"/>
              <a:ext cx="3129459" cy="239377"/>
            </a:xfrm>
            <a:prstGeom prst="rect">
              <a:avLst/>
            </a:prstGeom>
            <a:noFill/>
          </p:spPr>
          <p:txBody>
            <a:bodyPr wrap="square" lIns="0" tIns="0" rIns="150781" bIns="0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979" dirty="0">
                  <a:solidFill>
                    <a:schemeClr val="tx1">
                      <a:alpha val="6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www.youtube.com/</a:t>
              </a:r>
              <a:r>
                <a:rPr lang="en-US" sz="1979" dirty="0">
                  <a:solidFill>
                    <a:schemeClr val="tx1">
                      <a:alpha val="6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</a:p>
          </p:txBody>
        </p:sp>
      </p:grpSp>
      <p:sp>
        <p:nvSpPr>
          <p:cNvPr id="41" name="Shape 3701">
            <a:extLst>
              <a:ext uri="{FF2B5EF4-FFF2-40B4-BE49-F238E27FC236}">
                <a16:creationId xmlns:a16="http://schemas.microsoft.com/office/drawing/2014/main" id="{C891D3BE-2A1D-4E37-AEB5-852187288A31}"/>
              </a:ext>
            </a:extLst>
          </p:cNvPr>
          <p:cNvSpPr/>
          <p:nvPr/>
        </p:nvSpPr>
        <p:spPr>
          <a:xfrm>
            <a:off x="1344916" y="8081107"/>
            <a:ext cx="432000" cy="43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445" y="20618"/>
                </a:moveTo>
                <a:cubicBezTo>
                  <a:pt x="15830" y="20618"/>
                  <a:pt x="15230" y="20482"/>
                  <a:pt x="14664" y="20215"/>
                </a:cubicBezTo>
                <a:cubicBezTo>
                  <a:pt x="14611" y="20190"/>
                  <a:pt x="14556" y="20169"/>
                  <a:pt x="14501" y="20155"/>
                </a:cubicBezTo>
                <a:cubicBezTo>
                  <a:pt x="8920" y="17308"/>
                  <a:pt x="4296" y="12685"/>
                  <a:pt x="1448" y="7105"/>
                </a:cubicBezTo>
                <a:cubicBezTo>
                  <a:pt x="1432" y="7048"/>
                  <a:pt x="1412" y="6991"/>
                  <a:pt x="1386" y="6936"/>
                </a:cubicBezTo>
                <a:cubicBezTo>
                  <a:pt x="1118" y="6369"/>
                  <a:pt x="982" y="5770"/>
                  <a:pt x="982" y="5155"/>
                </a:cubicBezTo>
                <a:cubicBezTo>
                  <a:pt x="982" y="2774"/>
                  <a:pt x="3067" y="982"/>
                  <a:pt x="4418" y="982"/>
                </a:cubicBezTo>
                <a:cubicBezTo>
                  <a:pt x="4595" y="982"/>
                  <a:pt x="4712" y="1072"/>
                  <a:pt x="4765" y="1126"/>
                </a:cubicBezTo>
                <a:cubicBezTo>
                  <a:pt x="4777" y="1139"/>
                  <a:pt x="4800" y="1164"/>
                  <a:pt x="4832" y="1216"/>
                </a:cubicBezTo>
                <a:cubicBezTo>
                  <a:pt x="4849" y="1244"/>
                  <a:pt x="4868" y="1270"/>
                  <a:pt x="4888" y="1296"/>
                </a:cubicBezTo>
                <a:lnTo>
                  <a:pt x="8121" y="5453"/>
                </a:lnTo>
                <a:cubicBezTo>
                  <a:pt x="8146" y="5485"/>
                  <a:pt x="8173" y="5515"/>
                  <a:pt x="8202" y="5544"/>
                </a:cubicBezTo>
                <a:cubicBezTo>
                  <a:pt x="8255" y="5598"/>
                  <a:pt x="8345" y="5714"/>
                  <a:pt x="8345" y="5891"/>
                </a:cubicBezTo>
                <a:cubicBezTo>
                  <a:pt x="8345" y="5978"/>
                  <a:pt x="8321" y="6060"/>
                  <a:pt x="8274" y="6135"/>
                </a:cubicBezTo>
                <a:lnTo>
                  <a:pt x="7180" y="7221"/>
                </a:lnTo>
                <a:cubicBezTo>
                  <a:pt x="7175" y="7227"/>
                  <a:pt x="7170" y="7230"/>
                  <a:pt x="7165" y="7236"/>
                </a:cubicBezTo>
                <a:cubicBezTo>
                  <a:pt x="6769" y="7609"/>
                  <a:pt x="6543" y="8126"/>
                  <a:pt x="6543" y="8668"/>
                </a:cubicBezTo>
                <a:cubicBezTo>
                  <a:pt x="6543" y="9175"/>
                  <a:pt x="6740" y="9658"/>
                  <a:pt x="7082" y="10020"/>
                </a:cubicBezTo>
                <a:cubicBezTo>
                  <a:pt x="7094" y="10040"/>
                  <a:pt x="7107" y="10059"/>
                  <a:pt x="7121" y="10078"/>
                </a:cubicBezTo>
                <a:cubicBezTo>
                  <a:pt x="8327" y="11745"/>
                  <a:pt x="9810" y="13222"/>
                  <a:pt x="11528" y="14468"/>
                </a:cubicBezTo>
                <a:cubicBezTo>
                  <a:pt x="11541" y="14478"/>
                  <a:pt x="11555" y="14488"/>
                  <a:pt x="11568" y="14496"/>
                </a:cubicBezTo>
                <a:cubicBezTo>
                  <a:pt x="11931" y="14844"/>
                  <a:pt x="12418" y="15045"/>
                  <a:pt x="12928" y="15045"/>
                </a:cubicBezTo>
                <a:cubicBezTo>
                  <a:pt x="13440" y="15045"/>
                  <a:pt x="13934" y="14839"/>
                  <a:pt x="14301" y="14479"/>
                </a:cubicBezTo>
                <a:cubicBezTo>
                  <a:pt x="14320" y="14463"/>
                  <a:pt x="14338" y="14445"/>
                  <a:pt x="14356" y="14427"/>
                </a:cubicBezTo>
                <a:lnTo>
                  <a:pt x="15456" y="13320"/>
                </a:lnTo>
                <a:cubicBezTo>
                  <a:pt x="15533" y="13272"/>
                  <a:pt x="15615" y="13247"/>
                  <a:pt x="15701" y="13247"/>
                </a:cubicBezTo>
                <a:cubicBezTo>
                  <a:pt x="15878" y="13247"/>
                  <a:pt x="15995" y="13337"/>
                  <a:pt x="16048" y="13391"/>
                </a:cubicBezTo>
                <a:cubicBezTo>
                  <a:pt x="16077" y="13419"/>
                  <a:pt x="16108" y="13446"/>
                  <a:pt x="16140" y="13472"/>
                </a:cubicBezTo>
                <a:lnTo>
                  <a:pt x="20296" y="16704"/>
                </a:lnTo>
                <a:cubicBezTo>
                  <a:pt x="20323" y="16725"/>
                  <a:pt x="20351" y="16745"/>
                  <a:pt x="20379" y="16762"/>
                </a:cubicBezTo>
                <a:cubicBezTo>
                  <a:pt x="20431" y="16794"/>
                  <a:pt x="20455" y="16816"/>
                  <a:pt x="20466" y="16827"/>
                </a:cubicBezTo>
                <a:cubicBezTo>
                  <a:pt x="20520" y="16881"/>
                  <a:pt x="20610" y="16998"/>
                  <a:pt x="20610" y="17174"/>
                </a:cubicBezTo>
                <a:cubicBezTo>
                  <a:pt x="20610" y="17208"/>
                  <a:pt x="20612" y="17240"/>
                  <a:pt x="20616" y="17273"/>
                </a:cubicBezTo>
                <a:cubicBezTo>
                  <a:pt x="20539" y="18625"/>
                  <a:pt x="18774" y="20618"/>
                  <a:pt x="16445" y="20618"/>
                </a:cubicBezTo>
                <a:moveTo>
                  <a:pt x="21600" y="17174"/>
                </a:moveTo>
                <a:lnTo>
                  <a:pt x="21592" y="17174"/>
                </a:lnTo>
                <a:cubicBezTo>
                  <a:pt x="21592" y="16768"/>
                  <a:pt x="21427" y="16399"/>
                  <a:pt x="21161" y="16133"/>
                </a:cubicBezTo>
                <a:cubicBezTo>
                  <a:pt x="21082" y="16054"/>
                  <a:pt x="20994" y="15988"/>
                  <a:pt x="20899" y="15930"/>
                </a:cubicBezTo>
                <a:lnTo>
                  <a:pt x="16743" y="12697"/>
                </a:lnTo>
                <a:cubicBezTo>
                  <a:pt x="16476" y="12430"/>
                  <a:pt x="16108" y="12265"/>
                  <a:pt x="15701" y="12265"/>
                </a:cubicBezTo>
                <a:cubicBezTo>
                  <a:pt x="15368" y="12265"/>
                  <a:pt x="15065" y="12380"/>
                  <a:pt x="14819" y="12567"/>
                </a:cubicBezTo>
                <a:lnTo>
                  <a:pt x="13659" y="13736"/>
                </a:lnTo>
                <a:lnTo>
                  <a:pt x="13656" y="13733"/>
                </a:lnTo>
                <a:cubicBezTo>
                  <a:pt x="13477" y="13934"/>
                  <a:pt x="13218" y="14063"/>
                  <a:pt x="12928" y="14063"/>
                </a:cubicBezTo>
                <a:cubicBezTo>
                  <a:pt x="12595" y="14063"/>
                  <a:pt x="12303" y="13897"/>
                  <a:pt x="12125" y="13645"/>
                </a:cubicBezTo>
                <a:cubicBezTo>
                  <a:pt x="12119" y="13654"/>
                  <a:pt x="12111" y="13664"/>
                  <a:pt x="12104" y="13674"/>
                </a:cubicBezTo>
                <a:cubicBezTo>
                  <a:pt x="10500" y="12510"/>
                  <a:pt x="9078" y="11109"/>
                  <a:pt x="7916" y="9503"/>
                </a:cubicBezTo>
                <a:cubicBezTo>
                  <a:pt x="7927" y="9495"/>
                  <a:pt x="7937" y="9486"/>
                  <a:pt x="7949" y="9479"/>
                </a:cubicBezTo>
                <a:cubicBezTo>
                  <a:pt x="7693" y="9299"/>
                  <a:pt x="7525" y="9004"/>
                  <a:pt x="7525" y="8668"/>
                </a:cubicBezTo>
                <a:cubicBezTo>
                  <a:pt x="7525" y="8368"/>
                  <a:pt x="7662" y="8101"/>
                  <a:pt x="7873" y="7920"/>
                </a:cubicBezTo>
                <a:lnTo>
                  <a:pt x="7872" y="7918"/>
                </a:lnTo>
                <a:lnTo>
                  <a:pt x="9026" y="6773"/>
                </a:lnTo>
                <a:cubicBezTo>
                  <a:pt x="9213" y="6528"/>
                  <a:pt x="9327" y="6225"/>
                  <a:pt x="9327" y="5891"/>
                </a:cubicBezTo>
                <a:cubicBezTo>
                  <a:pt x="9327" y="5484"/>
                  <a:pt x="9162" y="5116"/>
                  <a:pt x="8896" y="4850"/>
                </a:cubicBezTo>
                <a:lnTo>
                  <a:pt x="5663" y="693"/>
                </a:lnTo>
                <a:cubicBezTo>
                  <a:pt x="5604" y="599"/>
                  <a:pt x="5538" y="510"/>
                  <a:pt x="5459" y="431"/>
                </a:cubicBezTo>
                <a:cubicBezTo>
                  <a:pt x="5193" y="165"/>
                  <a:pt x="4825" y="0"/>
                  <a:pt x="4418" y="0"/>
                </a:cubicBezTo>
                <a:cubicBezTo>
                  <a:pt x="2455" y="0"/>
                  <a:pt x="0" y="2308"/>
                  <a:pt x="0" y="5155"/>
                </a:cubicBezTo>
                <a:cubicBezTo>
                  <a:pt x="0" y="5944"/>
                  <a:pt x="183" y="6688"/>
                  <a:pt x="499" y="7356"/>
                </a:cubicBezTo>
                <a:lnTo>
                  <a:pt x="483" y="7372"/>
                </a:lnTo>
                <a:cubicBezTo>
                  <a:pt x="3436" y="13255"/>
                  <a:pt x="8345" y="18164"/>
                  <a:pt x="14228" y="21118"/>
                </a:cubicBezTo>
                <a:lnTo>
                  <a:pt x="14244" y="21101"/>
                </a:lnTo>
                <a:cubicBezTo>
                  <a:pt x="14912" y="21418"/>
                  <a:pt x="15657" y="21600"/>
                  <a:pt x="16445" y="21600"/>
                </a:cubicBezTo>
                <a:cubicBezTo>
                  <a:pt x="19292" y="21600"/>
                  <a:pt x="21600" y="19145"/>
                  <a:pt x="21600" y="17182"/>
                </a:cubicBezTo>
                <a:cubicBezTo>
                  <a:pt x="21600" y="17180"/>
                  <a:pt x="21600" y="17177"/>
                  <a:pt x="21600" y="17174"/>
                </a:cubicBezTo>
              </a:path>
            </a:pathLst>
          </a:custGeom>
          <a:gradFill>
            <a:gsLst>
              <a:gs pos="0">
                <a:srgbClr val="4170BA"/>
              </a:gs>
              <a:gs pos="100000">
                <a:srgbClr val="699D4B"/>
              </a:gs>
            </a:gsLst>
            <a:lin ang="2700000" scaled="0"/>
          </a:gra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2A1EE2A-C6E3-485C-802D-90DF32A8ABD2}"/>
              </a:ext>
            </a:extLst>
          </p:cNvPr>
          <p:cNvSpPr txBox="1"/>
          <p:nvPr/>
        </p:nvSpPr>
        <p:spPr>
          <a:xfrm>
            <a:off x="1974868" y="8261428"/>
            <a:ext cx="1819409" cy="2463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98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8 800 234 05 04</a:t>
            </a:r>
            <a:endParaRPr lang="en-US" sz="198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3" name="Shape 3870">
            <a:extLst>
              <a:ext uri="{FF2B5EF4-FFF2-40B4-BE49-F238E27FC236}">
                <a16:creationId xmlns:a16="http://schemas.microsoft.com/office/drawing/2014/main" id="{0CD5FB5C-DE63-47F3-BDC3-A536815E3B70}"/>
              </a:ext>
            </a:extLst>
          </p:cNvPr>
          <p:cNvSpPr/>
          <p:nvPr/>
        </p:nvSpPr>
        <p:spPr>
          <a:xfrm>
            <a:off x="1312358" y="7431965"/>
            <a:ext cx="432000" cy="33678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3"/>
                  <a:pt x="19964" y="1433"/>
                </a:cubicBezTo>
                <a:lnTo>
                  <a:pt x="11465" y="13118"/>
                </a:lnTo>
                <a:cubicBezTo>
                  <a:pt x="11288" y="13363"/>
                  <a:pt x="11051" y="13497"/>
                  <a:pt x="10800" y="13497"/>
                </a:cubicBezTo>
                <a:cubicBezTo>
                  <a:pt x="10549" y="13497"/>
                  <a:pt x="10312" y="13363"/>
                  <a:pt x="10134" y="13118"/>
                </a:cubicBezTo>
                <a:lnTo>
                  <a:pt x="1637" y="1433"/>
                </a:lnTo>
                <a:cubicBezTo>
                  <a:pt x="1739" y="1383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gradFill>
            <a:gsLst>
              <a:gs pos="0">
                <a:srgbClr val="4170BA"/>
              </a:gs>
              <a:gs pos="100000">
                <a:srgbClr val="699D4B"/>
              </a:gs>
            </a:gsLst>
            <a:lin ang="2700000" scaled="0"/>
          </a:gradFill>
          <a:ln w="12700">
            <a:miter lim="400000"/>
          </a:ln>
        </p:spPr>
        <p:txBody>
          <a:bodyPr lIns="38100" tIns="38100" rIns="38100" bIns="38100" anchor="ctr"/>
          <a:lstStyle/>
          <a:p>
            <a:endParaRPr>
              <a:solidFill>
                <a:prstClr val="black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67B3C6A-9780-45A9-B65F-A5CDB6FA2FEE}"/>
              </a:ext>
            </a:extLst>
          </p:cNvPr>
          <p:cNvSpPr txBox="1"/>
          <p:nvPr/>
        </p:nvSpPr>
        <p:spPr>
          <a:xfrm>
            <a:off x="1974868" y="7525176"/>
            <a:ext cx="2263440" cy="2437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98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fo@webiomed.ru </a:t>
            </a:r>
            <a:r>
              <a:rPr lang="ru-RU" sz="198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-US" sz="198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09065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802BF10-B974-5F44-A316-B5BBFD983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15661889" cy="911089"/>
          </a:xfrm>
        </p:spPr>
        <p:txBody>
          <a:bodyPr>
            <a:normAutofit/>
          </a:bodyPr>
          <a:lstStyle/>
          <a:p>
            <a:r>
              <a:rPr lang="ru-RU" b="1" dirty="0"/>
              <a:t>Национальная стратегия развития ИИ в России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E53EA0C-DF06-684E-A9AB-2DD1506CEA48}"/>
              </a:ext>
            </a:extLst>
          </p:cNvPr>
          <p:cNvSpPr/>
          <p:nvPr/>
        </p:nvSpPr>
        <p:spPr>
          <a:xfrm>
            <a:off x="894588" y="1405907"/>
            <a:ext cx="1911684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каз Президента Российской Федерации от 10.10.2019 № 490 </a:t>
            </a:r>
            <a:br>
              <a:rPr lang="en-US" sz="3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О развитии искусственного интеллекта в Российской Федерации»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1AF1EE42-90B8-1F42-AB37-C84E4F99AC6E}"/>
              </a:ext>
            </a:extLst>
          </p:cNvPr>
          <p:cNvCxnSpPr/>
          <p:nvPr/>
        </p:nvCxnSpPr>
        <p:spPr>
          <a:xfrm>
            <a:off x="552995" y="10526116"/>
            <a:ext cx="1887937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5757226C-FC7D-CD44-8043-34BF95DF4190}"/>
              </a:ext>
            </a:extLst>
          </p:cNvPr>
          <p:cNvSpPr txBox="1"/>
          <p:nvPr/>
        </p:nvSpPr>
        <p:spPr>
          <a:xfrm>
            <a:off x="612364" y="10644855"/>
            <a:ext cx="17751360" cy="320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84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лизация национальной стратегии искусственного интеллекта в сфере здравоохранения, </a:t>
            </a:r>
            <a:r>
              <a:rPr lang="en" sz="1484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https://webiomed.ai/blog/realizatsiia-natsionalnoi-strategii-iskusstvennogo-intellekta-v-sfere-zdravookhraneniia/</a:t>
            </a:r>
            <a:r>
              <a:rPr lang="ru-RU" sz="1484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" sz="1484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5ED65E-9753-C248-8DC4-B279C7033DDC}"/>
              </a:ext>
            </a:extLst>
          </p:cNvPr>
          <p:cNvSpPr txBox="1"/>
          <p:nvPr/>
        </p:nvSpPr>
        <p:spPr>
          <a:xfrm>
            <a:off x="894588" y="6250112"/>
            <a:ext cx="1815325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cs typeface="Arial" panose="020B0604020202020204" pitchFamily="34" charset="0"/>
              </a:rPr>
              <a:t>Роль ИИ в здравоохранении: улучшение уровня жизни населения, в том числе повышение качества услуг в профилактике и диагностике благодаря:</a:t>
            </a:r>
          </a:p>
          <a:p>
            <a:pPr marL="565442" indent="-565442">
              <a:buBlip>
                <a:blip r:embed="rId4"/>
              </a:buBlip>
            </a:pPr>
            <a:r>
              <a:rPr lang="ru-RU" sz="3200" dirty="0">
                <a:cs typeface="Arial" panose="020B0604020202020204" pitchFamily="34" charset="0"/>
              </a:rPr>
              <a:t>анализу медицинской информации, </a:t>
            </a:r>
          </a:p>
          <a:p>
            <a:pPr marL="565442" indent="-565442">
              <a:buBlip>
                <a:blip r:embed="rId4"/>
              </a:buBlip>
            </a:pPr>
            <a:r>
              <a:rPr lang="ru-RU" sz="3200" dirty="0">
                <a:cs typeface="Arial" panose="020B0604020202020204" pitchFamily="34" charset="0"/>
              </a:rPr>
              <a:t>прогнозированию возникновения и развития заболеваний, </a:t>
            </a:r>
          </a:p>
          <a:p>
            <a:pPr marL="565442" indent="-565442">
              <a:buBlip>
                <a:blip r:embed="rId4"/>
              </a:buBlip>
            </a:pPr>
            <a:r>
              <a:rPr lang="ru-RU" sz="3200" dirty="0">
                <a:cs typeface="Arial" panose="020B0604020202020204" pitchFamily="34" charset="0"/>
              </a:rPr>
              <a:t>подбору оптимального лечения, </a:t>
            </a:r>
          </a:p>
          <a:p>
            <a:pPr marL="565442" indent="-565442">
              <a:buBlip>
                <a:blip r:embed="rId4"/>
              </a:buBlip>
            </a:pPr>
            <a:r>
              <a:rPr lang="ru-RU" sz="3200" dirty="0">
                <a:cs typeface="Arial" panose="020B0604020202020204" pitchFamily="34" charset="0"/>
              </a:rPr>
              <a:t>сокращению угроз пандемии, </a:t>
            </a:r>
          </a:p>
          <a:p>
            <a:pPr marL="565442" indent="-565442">
              <a:buBlip>
                <a:blip r:embed="rId4"/>
              </a:buBlip>
            </a:pPr>
            <a:r>
              <a:rPr lang="ru-RU" sz="3200" dirty="0">
                <a:cs typeface="Arial" panose="020B0604020202020204" pitchFamily="34" charset="0"/>
              </a:rPr>
              <a:t>автоматизации и повышению точности лечения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8711AAE-0FE4-D24A-8F0C-9D379BC0B372}"/>
              </a:ext>
            </a:extLst>
          </p:cNvPr>
          <p:cNvSpPr/>
          <p:nvPr/>
        </p:nvSpPr>
        <p:spPr>
          <a:xfrm>
            <a:off x="894588" y="2721885"/>
            <a:ext cx="18537779" cy="2923877"/>
          </a:xfrm>
          <a:prstGeom prst="rect">
            <a:avLst/>
          </a:prstGeom>
          <a:solidFill>
            <a:srgbClr val="004674"/>
          </a:solidFill>
        </p:spPr>
        <p:txBody>
          <a:bodyPr wrap="square">
            <a:spAutoFit/>
          </a:bodyPr>
          <a:lstStyle/>
          <a:p>
            <a:r>
              <a:rPr lang="ru-RU" sz="4800" b="1" dirty="0">
                <a:solidFill>
                  <a:srgbClr val="FFFF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Задача-минимум: </a:t>
            </a:r>
            <a:r>
              <a:rPr lang="ru-RU" sz="4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коренное внедрение ИИ </a:t>
            </a:r>
            <a:r>
              <a:rPr lang="en-US" sz="4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[</a:t>
            </a:r>
            <a:r>
              <a:rPr lang="ru-RU" sz="4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т.ч. в</a:t>
            </a:r>
            <a:br>
              <a:rPr lang="ru-RU" sz="4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4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здравоохранении</a:t>
            </a:r>
            <a:r>
              <a:rPr lang="en-US" sz="4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]</a:t>
            </a:r>
            <a:endParaRPr lang="ru-RU" sz="48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4800" b="1" dirty="0">
                <a:solidFill>
                  <a:srgbClr val="FFFF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Задача-максимум: </a:t>
            </a:r>
            <a:r>
              <a:rPr lang="ru-RU" sz="4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хождение России в группу мировых</a:t>
            </a:r>
            <a:br>
              <a:rPr lang="ru-RU" sz="4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4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лидеров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6067317"/>
            <a:ext cx="6846119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60399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8068217-2C9D-CE4B-8AD7-282349040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17164812" cy="911089"/>
          </a:xfrm>
        </p:spPr>
        <p:txBody>
          <a:bodyPr/>
          <a:lstStyle/>
          <a:p>
            <a:r>
              <a:rPr lang="ru-RU" b="1" dirty="0"/>
              <a:t>Российские ИИ </a:t>
            </a:r>
            <a:r>
              <a:rPr lang="ru-RU" b="1" dirty="0" err="1"/>
              <a:t>стартапы</a:t>
            </a:r>
            <a:r>
              <a:rPr lang="ru-RU" b="1" dirty="0"/>
              <a:t> в сфере здравоохранения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A8FFE6E6-B988-854D-A9F0-471A72519E16}"/>
              </a:ext>
            </a:extLst>
          </p:cNvPr>
          <p:cNvGrpSpPr/>
          <p:nvPr/>
        </p:nvGrpSpPr>
        <p:grpSpPr>
          <a:xfrm>
            <a:off x="2522592" y="1428764"/>
            <a:ext cx="4458576" cy="1554627"/>
            <a:chOff x="1671741" y="1191717"/>
            <a:chExt cx="2703874" cy="942793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1D0CBBE9-E003-394F-B2D9-E847116ACE32}"/>
                </a:ext>
              </a:extLst>
            </p:cNvPr>
            <p:cNvSpPr/>
            <p:nvPr/>
          </p:nvSpPr>
          <p:spPr>
            <a:xfrm>
              <a:off x="1671741" y="1191717"/>
              <a:ext cx="2703874" cy="942793"/>
            </a:xfrm>
            <a:prstGeom prst="rect">
              <a:avLst/>
            </a:prstGeom>
            <a:solidFill>
              <a:srgbClr val="EFF8F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958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8E34B8EB-1C86-4448-B6DF-326E219185E7}"/>
                </a:ext>
              </a:extLst>
            </p:cNvPr>
            <p:cNvSpPr/>
            <p:nvPr/>
          </p:nvSpPr>
          <p:spPr>
            <a:xfrm>
              <a:off x="1808069" y="1321219"/>
              <a:ext cx="2147796" cy="67154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3298" dirty="0">
                  <a:solidFill>
                    <a:schemeClr val="accent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оссийских компаний</a:t>
              </a:r>
              <a:endParaRPr lang="en-US" sz="3298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F6720AF-2646-564B-B9D9-CC01305A15BA}"/>
              </a:ext>
            </a:extLst>
          </p:cNvPr>
          <p:cNvSpPr/>
          <p:nvPr/>
        </p:nvSpPr>
        <p:spPr bwMode="auto">
          <a:xfrm>
            <a:off x="8444595" y="1350574"/>
            <a:ext cx="5365571" cy="1614929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894" b="1" dirty="0">
                <a:solidFill>
                  <a:srgbClr val="2CACB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,8 тыс.</a:t>
            </a:r>
            <a:endParaRPr lang="en-US" sz="3298" b="1" dirty="0">
              <a:solidFill>
                <a:srgbClr val="2CACB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430B00AD-B966-2B46-82DE-B37FA8F4FF49}"/>
              </a:ext>
            </a:extLst>
          </p:cNvPr>
          <p:cNvGrpSpPr/>
          <p:nvPr/>
        </p:nvGrpSpPr>
        <p:grpSpPr>
          <a:xfrm>
            <a:off x="13946287" y="1484935"/>
            <a:ext cx="4450804" cy="1498456"/>
            <a:chOff x="1760494" y="1208698"/>
            <a:chExt cx="2699161" cy="908729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A35F020F-4D7F-F049-9460-9892C46C4EAD}"/>
                </a:ext>
              </a:extLst>
            </p:cNvPr>
            <p:cNvSpPr/>
            <p:nvPr/>
          </p:nvSpPr>
          <p:spPr>
            <a:xfrm>
              <a:off x="1760494" y="1208698"/>
              <a:ext cx="2699161" cy="908729"/>
            </a:xfrm>
            <a:prstGeom prst="rect">
              <a:avLst/>
            </a:prstGeom>
            <a:solidFill>
              <a:srgbClr val="EFF8F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958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E6FCA57F-3EFE-ED44-9F56-AA0AB9E2C1B4}"/>
                </a:ext>
              </a:extLst>
            </p:cNvPr>
            <p:cNvSpPr/>
            <p:nvPr/>
          </p:nvSpPr>
          <p:spPr>
            <a:xfrm>
              <a:off x="1960397" y="1318117"/>
              <a:ext cx="1659066" cy="6715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3298" dirty="0" err="1">
                  <a:solidFill>
                    <a:schemeClr val="accent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тартапов</a:t>
              </a:r>
              <a:r>
                <a:rPr lang="ru-RU" sz="3298" dirty="0">
                  <a:solidFill>
                    <a:schemeClr val="accent2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в мире</a:t>
              </a:r>
              <a:endParaRPr lang="en-US" sz="3298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3418B9B-2036-AF4D-9AF9-662757C201FB}"/>
              </a:ext>
            </a:extLst>
          </p:cNvPr>
          <p:cNvSpPr/>
          <p:nvPr/>
        </p:nvSpPr>
        <p:spPr bwMode="auto">
          <a:xfrm>
            <a:off x="251707" y="1350575"/>
            <a:ext cx="4415653" cy="161492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9894" b="1" dirty="0">
                <a:solidFill>
                  <a:srgbClr val="2CACB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5</a:t>
            </a:r>
            <a:endParaRPr lang="en-US" sz="4617" b="1" dirty="0">
              <a:solidFill>
                <a:srgbClr val="2CACBA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D6152381-089C-4D48-943B-9C754C307BD5}"/>
              </a:ext>
            </a:extLst>
          </p:cNvPr>
          <p:cNvCxnSpPr/>
          <p:nvPr/>
        </p:nvCxnSpPr>
        <p:spPr>
          <a:xfrm>
            <a:off x="552995" y="10526116"/>
            <a:ext cx="1887937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1B07AA1-27AE-624C-B59E-A23B185A7DAF}"/>
              </a:ext>
            </a:extLst>
          </p:cNvPr>
          <p:cNvSpPr txBox="1"/>
          <p:nvPr/>
        </p:nvSpPr>
        <p:spPr>
          <a:xfrm>
            <a:off x="612364" y="10644855"/>
            <a:ext cx="17751360" cy="320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84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зор Российских систем искусственного интеллекта для здравоохранения, </a:t>
            </a:r>
            <a:r>
              <a:rPr lang="en" sz="1484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2"/>
              </a:rPr>
              <a:t>https://webiomed.ru/blog/obzor-rossiiskikh-sistem-iskusstvennogo-intellekta-dlia-zdravookhraneniia/</a:t>
            </a:r>
            <a:r>
              <a:rPr lang="ru-RU" sz="1484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" sz="1484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8B678DC2-16E8-884F-B7D7-D971968D42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4200451" y="3402880"/>
            <a:ext cx="3137201" cy="602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http://nbmz.ru/wp-content/uploads/2019/07/website-logo-black-thicker_website-logo-white-thicker-300x57.png">
            <a:extLst>
              <a:ext uri="{FF2B5EF4-FFF2-40B4-BE49-F238E27FC236}">
                <a16:creationId xmlns:a16="http://schemas.microsoft.com/office/drawing/2014/main" id="{645DCC9F-25C6-3A49-A991-ED42CAECCD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3501" y="4290748"/>
            <a:ext cx="4562305" cy="866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ttp://nbmz.ru/wp-content/uploads/2019/07/Sapia.jpg">
            <a:extLst>
              <a:ext uri="{FF2B5EF4-FFF2-40B4-BE49-F238E27FC236}">
                <a16:creationId xmlns:a16="http://schemas.microsoft.com/office/drawing/2014/main" id="{3CD9EDCE-023E-DF42-944B-E0B114C0BC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9686" y="8304193"/>
            <a:ext cx="2493502" cy="641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8" descr="http://nbmz.ru/wp-content/uploads/2019/08/logo-CMAI-на-прозрачном-300x99.png">
            <a:extLst>
              <a:ext uri="{FF2B5EF4-FFF2-40B4-BE49-F238E27FC236}">
                <a16:creationId xmlns:a16="http://schemas.microsoft.com/office/drawing/2014/main" id="{EF9303FA-0D9E-E444-B2D6-EF4C7AB3DB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704" y="3180689"/>
            <a:ext cx="3497480" cy="1154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E7B1BA6A-DD6F-F64B-AC02-D2C7CC5CF7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0648" y="4616614"/>
            <a:ext cx="2141944" cy="770349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51FAC255-0BED-774A-A2FB-3F68A28850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5610" y="5691658"/>
            <a:ext cx="3192106" cy="798027"/>
          </a:xfrm>
          <a:prstGeom prst="rect">
            <a:avLst/>
          </a:prstGeom>
        </p:spPr>
      </p:pic>
      <p:sp>
        <p:nvSpPr>
          <p:cNvPr id="21" name="AutoShape 12" descr="FtizisBioMed">
            <a:extLst>
              <a:ext uri="{FF2B5EF4-FFF2-40B4-BE49-F238E27FC236}">
                <a16:creationId xmlns:a16="http://schemas.microsoft.com/office/drawing/2014/main" id="{54D74500-0934-BF47-BDDC-DBD96EB2428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259082" y="6641316"/>
            <a:ext cx="502603" cy="502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ru-RU" sz="2309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A12E4828-A098-B34E-B589-009678FCAEB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50800" y="5325634"/>
            <a:ext cx="1423792" cy="1119144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D4FA5EF1-14E2-1446-A032-496383C06D5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5662" y="6754501"/>
            <a:ext cx="2505791" cy="804969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13AA2DBC-AC43-AB42-9D23-8FC9972352E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03669" y="5290584"/>
            <a:ext cx="1718315" cy="931823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2F9C07A3-3986-1F47-8610-FB939A75DA3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72637" y="9362630"/>
            <a:ext cx="2578100" cy="711200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A964B3D8-0363-EC41-8562-C3FB10DE4E0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37359" y="7430673"/>
            <a:ext cx="2705100" cy="90170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A3186B18-3766-AF4C-86C3-64612C90FF0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661074" y="6564668"/>
            <a:ext cx="2337300" cy="687996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A6FA0A6E-5278-114E-B60C-0E0205F1D24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2995" y="7824286"/>
            <a:ext cx="2298700" cy="88900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8F72B73-3289-8442-BECA-DDDC150EAB23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49274" y="8752103"/>
            <a:ext cx="1374138" cy="1374138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471238AE-2051-1347-991E-1C82F0EE523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426384" y="9224366"/>
            <a:ext cx="2895600" cy="723900"/>
          </a:xfrm>
          <a:prstGeom prst="rect">
            <a:avLst/>
          </a:prstGeom>
        </p:spPr>
      </p:pic>
      <p:graphicFrame>
        <p:nvGraphicFramePr>
          <p:cNvPr id="31" name="Диаграмма 30">
            <a:extLst>
              <a:ext uri="{FF2B5EF4-FFF2-40B4-BE49-F238E27FC236}">
                <a16:creationId xmlns:a16="http://schemas.microsoft.com/office/drawing/2014/main" id="{F0E9661D-C749-CA48-BA00-F66ABB63E3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9544682"/>
              </p:ext>
            </p:extLst>
          </p:nvPr>
        </p:nvGraphicFramePr>
        <p:xfrm>
          <a:off x="7580451" y="3084242"/>
          <a:ext cx="11851916" cy="704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14568416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8ED7360B-9705-1347-8124-39B19C07A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16459557" cy="911089"/>
          </a:xfrm>
        </p:spPr>
        <p:txBody>
          <a:bodyPr>
            <a:normAutofit/>
          </a:bodyPr>
          <a:lstStyle/>
          <a:p>
            <a:r>
              <a:rPr lang="ru-RU" b="1" dirty="0"/>
              <a:t>Инвестиции в ИИ для здравоохранения. Мир и мы</a:t>
            </a:r>
          </a:p>
        </p:txBody>
      </p:sp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01EDE2F0-A095-8A4D-9286-C2DB89F00C32}"/>
              </a:ext>
            </a:extLst>
          </p:cNvPr>
          <p:cNvGraphicFramePr/>
          <p:nvPr/>
        </p:nvGraphicFramePr>
        <p:xfrm>
          <a:off x="375293" y="2689397"/>
          <a:ext cx="9024103" cy="7599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ACA6314F-B0ED-9447-960D-78D4A886C1B1}"/>
              </a:ext>
            </a:extLst>
          </p:cNvPr>
          <p:cNvGraphicFramePr/>
          <p:nvPr/>
        </p:nvGraphicFramePr>
        <p:xfrm>
          <a:off x="10408264" y="2689396"/>
          <a:ext cx="9024103" cy="75992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546E794-7898-0D40-AF2C-98338E52ACB3}"/>
              </a:ext>
            </a:extLst>
          </p:cNvPr>
          <p:cNvSpPr txBox="1"/>
          <p:nvPr/>
        </p:nvSpPr>
        <p:spPr>
          <a:xfrm>
            <a:off x="375293" y="1502013"/>
            <a:ext cx="8845590" cy="498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6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намика глобальных инвестиций, млн. долл. СШ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C7C0747-E744-6247-8B2B-4DC14505917D}"/>
              </a:ext>
            </a:extLst>
          </p:cNvPr>
          <p:cNvSpPr txBox="1"/>
          <p:nvPr/>
        </p:nvSpPr>
        <p:spPr>
          <a:xfrm>
            <a:off x="10408264" y="1502013"/>
            <a:ext cx="8845590" cy="498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6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намика российских инвестиций, млн. долл. США</a:t>
            </a:r>
          </a:p>
        </p:txBody>
      </p:sp>
      <p:graphicFrame>
        <p:nvGraphicFramePr>
          <p:cNvPr id="11" name="Таблица 11">
            <a:extLst>
              <a:ext uri="{FF2B5EF4-FFF2-40B4-BE49-F238E27FC236}">
                <a16:creationId xmlns:a16="http://schemas.microsoft.com/office/drawing/2014/main" id="{EE3E03D9-B2AD-334D-9D2C-69C7AFD601CF}"/>
              </a:ext>
            </a:extLst>
          </p:cNvPr>
          <p:cNvGraphicFramePr>
            <a:graphicFrameLocks noGrp="1"/>
          </p:cNvGraphicFramePr>
          <p:nvPr/>
        </p:nvGraphicFramePr>
        <p:xfrm>
          <a:off x="552995" y="10466424"/>
          <a:ext cx="18879372" cy="65338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439686">
                  <a:extLst>
                    <a:ext uri="{9D8B030D-6E8A-4147-A177-3AD203B41FA5}">
                      <a16:colId xmlns:a16="http://schemas.microsoft.com/office/drawing/2014/main" val="2936807319"/>
                    </a:ext>
                  </a:extLst>
                </a:gridCol>
                <a:gridCol w="9439686">
                  <a:extLst>
                    <a:ext uri="{9D8B030D-6E8A-4147-A177-3AD203B41FA5}">
                      <a16:colId xmlns:a16="http://schemas.microsoft.com/office/drawing/2014/main" val="2925547310"/>
                    </a:ext>
                  </a:extLst>
                </a:gridCol>
              </a:tblGrid>
              <a:tr h="653383">
                <a:tc>
                  <a:txBody>
                    <a:bodyPr/>
                    <a:lstStyle/>
                    <a:p>
                      <a:pPr algn="ctr"/>
                      <a:r>
                        <a:rPr lang="en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e Of AI Q3’21 Report: </a:t>
                      </a:r>
                      <a:r>
                        <a:rPr lang="en" sz="1600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6"/>
                        </a:rPr>
                        <a:t>https://www.cbinsights.com/research/report/ai-trends-q3-2021</a:t>
                      </a:r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данные за </a:t>
                      </a: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 2021 </a:t>
                      </a:r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ны предварительно, на основе трендов </a:t>
                      </a: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-Q3 2021</a:t>
                      </a:r>
                      <a:endParaRPr lang="en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нные компании К-</a:t>
                      </a:r>
                      <a:r>
                        <a:rPr lang="ru-RU" sz="16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ай</a:t>
                      </a:r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" sz="1600" dirty="0">
                          <a:latin typeface="Arial" panose="020B0604020202020204" pitchFamily="34" charset="0"/>
                          <a:cs typeface="Arial" panose="020B0604020202020204" pitchFamily="34" charset="0"/>
                          <a:hlinkClick r:id="rId7"/>
                        </a:rPr>
                        <a:t>https://webiomed.ai/blog/obzor-rossiiskikh-investitsii-v-tsifrovoe-zdravookhranenie/</a:t>
                      </a:r>
                      <a:r>
                        <a:rPr lang="ru-RU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150781" marR="150781" marT="75390" marB="75390" anchor="ctr">
                    <a:lnT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58233739"/>
                  </a:ext>
                </a:extLst>
              </a:tr>
            </a:tbl>
          </a:graphicData>
        </a:graphic>
      </p:graphicFrame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F07AFBC6-33C0-D24D-B52F-921BA5CCF4CA}"/>
              </a:ext>
            </a:extLst>
          </p:cNvPr>
          <p:cNvGrpSpPr/>
          <p:nvPr/>
        </p:nvGrpSpPr>
        <p:grpSpPr>
          <a:xfrm>
            <a:off x="18025746" y="2811316"/>
            <a:ext cx="888723" cy="2374764"/>
            <a:chOff x="4295800" y="1765467"/>
            <a:chExt cx="288032" cy="727429"/>
          </a:xfrm>
        </p:grpSpPr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EE90B1C4-F75B-1E41-8A1E-78ACF71DA32A}"/>
                </a:ext>
              </a:extLst>
            </p:cNvPr>
            <p:cNvCxnSpPr/>
            <p:nvPr/>
          </p:nvCxnSpPr>
          <p:spPr>
            <a:xfrm>
              <a:off x="4295800" y="1765467"/>
              <a:ext cx="288032" cy="0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 стрелкой 13">
              <a:extLst>
                <a:ext uri="{FF2B5EF4-FFF2-40B4-BE49-F238E27FC236}">
                  <a16:creationId xmlns:a16="http://schemas.microsoft.com/office/drawing/2014/main" id="{991B01F2-8381-C94F-AE53-6BF1BBA74193}"/>
                </a:ext>
              </a:extLst>
            </p:cNvPr>
            <p:cNvCxnSpPr/>
            <p:nvPr/>
          </p:nvCxnSpPr>
          <p:spPr>
            <a:xfrm>
              <a:off x="4583832" y="1765467"/>
              <a:ext cx="0" cy="727429"/>
            </a:xfrm>
            <a:prstGeom prst="straightConnector1">
              <a:avLst/>
            </a:prstGeom>
            <a:ln w="28575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Текст 2">
            <a:extLst>
              <a:ext uri="{FF2B5EF4-FFF2-40B4-BE49-F238E27FC236}">
                <a16:creationId xmlns:a16="http://schemas.microsoft.com/office/drawing/2014/main" id="{CD646AAA-7A5B-934A-A87E-4CA6CD14E54F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18364736" y="3366879"/>
            <a:ext cx="1099466" cy="1151486"/>
          </a:xfrm>
          <a:prstGeom prst="ellipse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2968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,</a:t>
            </a:r>
            <a:r>
              <a:rPr lang="ru-RU" sz="2968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en-US" sz="2968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</a:t>
            </a:r>
            <a:endParaRPr lang="ru-RU" sz="2968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769F0737-9BEE-AF44-BD8D-E0401C264D83}"/>
              </a:ext>
            </a:extLst>
          </p:cNvPr>
          <p:cNvGrpSpPr/>
          <p:nvPr/>
        </p:nvGrpSpPr>
        <p:grpSpPr>
          <a:xfrm>
            <a:off x="7229802" y="2689396"/>
            <a:ext cx="922437" cy="2349348"/>
            <a:chOff x="2555578" y="2305620"/>
            <a:chExt cx="300062" cy="475308"/>
          </a:xfrm>
        </p:grpSpPr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7B8B429D-400E-C841-A65D-D20CE105E092}"/>
                </a:ext>
              </a:extLst>
            </p:cNvPr>
            <p:cNvCxnSpPr/>
            <p:nvPr/>
          </p:nvCxnSpPr>
          <p:spPr>
            <a:xfrm flipV="1">
              <a:off x="2566411" y="2305620"/>
              <a:ext cx="0" cy="475308"/>
            </a:xfrm>
            <a:prstGeom prst="line">
              <a:avLst/>
            </a:prstGeom>
            <a:ln w="381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 стрелкой 17">
              <a:extLst>
                <a:ext uri="{FF2B5EF4-FFF2-40B4-BE49-F238E27FC236}">
                  <a16:creationId xmlns:a16="http://schemas.microsoft.com/office/drawing/2014/main" id="{76EDCA10-ABAB-F740-9025-9D070B512532}"/>
                </a:ext>
              </a:extLst>
            </p:cNvPr>
            <p:cNvCxnSpPr/>
            <p:nvPr/>
          </p:nvCxnSpPr>
          <p:spPr>
            <a:xfrm>
              <a:off x="2555578" y="2305620"/>
              <a:ext cx="300062" cy="0"/>
            </a:xfrm>
            <a:prstGeom prst="straightConnector1">
              <a:avLst/>
            </a:prstGeom>
            <a:ln w="38100"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Текст 2">
            <a:extLst>
              <a:ext uri="{FF2B5EF4-FFF2-40B4-BE49-F238E27FC236}">
                <a16:creationId xmlns:a16="http://schemas.microsoft.com/office/drawing/2014/main" id="{AA5F68FA-9471-764C-ACBE-D17A78E1DA29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732535" y="3020856"/>
            <a:ext cx="1099466" cy="1151486"/>
          </a:xfrm>
          <a:prstGeom prst="ellipse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2968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r>
              <a:rPr lang="en-US" sz="2968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ru-RU" sz="2968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  <a:r>
              <a:rPr lang="en-US" sz="2968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x</a:t>
            </a:r>
            <a:endParaRPr lang="ru-RU" sz="2968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C3683724-361A-534B-A64D-FE3A84E13EDF}"/>
              </a:ext>
            </a:extLst>
          </p:cNvPr>
          <p:cNvSpPr/>
          <p:nvPr/>
        </p:nvSpPr>
        <p:spPr>
          <a:xfrm>
            <a:off x="196184" y="2270102"/>
            <a:ext cx="4192897" cy="1902228"/>
          </a:xfrm>
          <a:prstGeom prst="roundRect">
            <a:avLst>
              <a:gd name="adj" fmla="val 1196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63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и 2021: </a:t>
            </a:r>
            <a:br>
              <a:rPr lang="ru-RU" sz="263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63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230 млн долл., из них 7 300 (65</a:t>
            </a:r>
            <a:r>
              <a:rPr lang="en-US" sz="263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sz="263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- США</a:t>
            </a:r>
          </a:p>
        </p:txBody>
      </p:sp>
      <p:sp>
        <p:nvSpPr>
          <p:cNvPr id="24" name="Скругленный прямоугольник 23">
            <a:extLst>
              <a:ext uri="{FF2B5EF4-FFF2-40B4-BE49-F238E27FC236}">
                <a16:creationId xmlns:a16="http://schemas.microsoft.com/office/drawing/2014/main" id="{66A9DF59-C0AF-5644-9DD2-A4806D42766C}"/>
              </a:ext>
            </a:extLst>
          </p:cNvPr>
          <p:cNvSpPr/>
          <p:nvPr/>
        </p:nvSpPr>
        <p:spPr>
          <a:xfrm>
            <a:off x="11110337" y="2270102"/>
            <a:ext cx="4109240" cy="1902227"/>
          </a:xfrm>
          <a:prstGeom prst="roundRect">
            <a:avLst>
              <a:gd name="adj" fmla="val 1196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63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и 2021: </a:t>
            </a:r>
            <a:br>
              <a:rPr lang="ru-RU" sz="263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63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4 млн. долл.</a:t>
            </a:r>
            <a:endParaRPr lang="ru-RU" sz="263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9814574" y="1502013"/>
            <a:ext cx="0" cy="8786626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0013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5ED7BB-DD41-C04C-8BAB-9D22BC1C6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13638535" cy="911089"/>
          </a:xfrm>
        </p:spPr>
        <p:txBody>
          <a:bodyPr>
            <a:normAutofit/>
          </a:bodyPr>
          <a:lstStyle/>
          <a:p>
            <a:r>
              <a:rPr lang="ru-RU" b="1" dirty="0"/>
              <a:t>Сравнение глобального лидера (США) и нас</a:t>
            </a:r>
          </a:p>
        </p:txBody>
      </p:sp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B1ABE78C-1C3F-2846-8832-BD468298EC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7985757"/>
              </p:ext>
            </p:extLst>
          </p:nvPr>
        </p:nvGraphicFramePr>
        <p:xfrm>
          <a:off x="894588" y="1432690"/>
          <a:ext cx="18288357" cy="88247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9257350">
                  <a:extLst>
                    <a:ext uri="{9D8B030D-6E8A-4147-A177-3AD203B41FA5}">
                      <a16:colId xmlns:a16="http://schemas.microsoft.com/office/drawing/2014/main" val="977056832"/>
                    </a:ext>
                  </a:extLst>
                </a:gridCol>
                <a:gridCol w="4515503">
                  <a:extLst>
                    <a:ext uri="{9D8B030D-6E8A-4147-A177-3AD203B41FA5}">
                      <a16:colId xmlns:a16="http://schemas.microsoft.com/office/drawing/2014/main" val="3707400640"/>
                    </a:ext>
                  </a:extLst>
                </a:gridCol>
                <a:gridCol w="4515504">
                  <a:extLst>
                    <a:ext uri="{9D8B030D-6E8A-4147-A177-3AD203B41FA5}">
                      <a16:colId xmlns:a16="http://schemas.microsoft.com/office/drawing/2014/main" val="2312204418"/>
                    </a:ext>
                  </a:extLst>
                </a:gridCol>
              </a:tblGrid>
              <a:tr h="1114968">
                <a:tc>
                  <a:txBody>
                    <a:bodyPr/>
                    <a:lstStyle/>
                    <a:p>
                      <a:r>
                        <a:rPr lang="ru-RU" sz="3000" dirty="0">
                          <a:solidFill>
                            <a:schemeClr val="accent2"/>
                          </a:solidFill>
                        </a:rPr>
                        <a:t>Показатель</a:t>
                      </a:r>
                      <a:endParaRPr lang="ru-RU" sz="300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accent2"/>
                          </a:solidFill>
                        </a:rPr>
                        <a:t>США</a:t>
                      </a:r>
                      <a:r>
                        <a:rPr lang="en-US" sz="300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3000" baseline="30000" dirty="0">
                          <a:solidFill>
                            <a:schemeClr val="accent2"/>
                          </a:solidFill>
                        </a:rPr>
                        <a:t>1</a:t>
                      </a:r>
                      <a:endParaRPr lang="ru-RU" sz="3000" baseline="3000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accent2"/>
                          </a:solidFill>
                        </a:rPr>
                        <a:t>Россия</a:t>
                      </a:r>
                      <a:r>
                        <a:rPr lang="en-US" sz="300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3000" baseline="30000" dirty="0">
                          <a:solidFill>
                            <a:schemeClr val="accent2"/>
                          </a:solidFill>
                        </a:rPr>
                        <a:t>2</a:t>
                      </a:r>
                      <a:endParaRPr lang="ru-RU" sz="3000" baseline="30000" dirty="0">
                        <a:solidFill>
                          <a:schemeClr val="accent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78495030"/>
                  </a:ext>
                </a:extLst>
              </a:tr>
              <a:tr h="717759">
                <a:tc>
                  <a:txBody>
                    <a:bodyPr/>
                    <a:lstStyle/>
                    <a:p>
                      <a:pPr algn="l"/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Число компаний-разработчиков</a:t>
                      </a:r>
                      <a:endParaRPr lang="ru-RU" sz="2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5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1145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5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30 (2,6</a:t>
                      </a:r>
                      <a:r>
                        <a:rPr lang="en-US" sz="3000" dirty="0">
                          <a:solidFill>
                            <a:schemeClr val="tx1"/>
                          </a:solidFill>
                        </a:rPr>
                        <a:t>%</a:t>
                      </a:r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5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8786589"/>
                  </a:ext>
                </a:extLst>
              </a:tr>
              <a:tr h="1238871">
                <a:tc>
                  <a:txBody>
                    <a:bodyPr/>
                    <a:lstStyle/>
                    <a:p>
                      <a:pPr algn="l"/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Число допущенных на рынок </a:t>
                      </a:r>
                      <a:r>
                        <a:rPr lang="en-US" sz="2600" b="0" dirty="0" err="1">
                          <a:solidFill>
                            <a:schemeClr val="tx1"/>
                          </a:solidFill>
                        </a:rPr>
                        <a:t>SaMD</a:t>
                      </a:r>
                      <a:endParaRPr lang="ru-RU" sz="2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000" dirty="0">
                          <a:solidFill>
                            <a:schemeClr val="tx1"/>
                          </a:solidFill>
                        </a:rPr>
                        <a:t>&gt; 220</a:t>
                      </a:r>
                      <a:br>
                        <a:rPr lang="en-US" sz="30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300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е одобрение - 2015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11</a:t>
                      </a:r>
                      <a:br>
                        <a:rPr lang="en-US" sz="30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3000" dirty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ru-RU" sz="3000">
                          <a:solidFill>
                            <a:schemeClr val="tx1"/>
                          </a:solidFill>
                        </a:rPr>
                        <a:t>е одобрение </a:t>
                      </a:r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- 2020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21958947"/>
                  </a:ext>
                </a:extLst>
              </a:tr>
              <a:tr h="717759">
                <a:tc>
                  <a:txBody>
                    <a:bodyPr/>
                    <a:lstStyle/>
                    <a:p>
                      <a:pPr algn="l"/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Общая сумма привлеченных инвестиций, млн долл.</a:t>
                      </a:r>
                      <a:endParaRPr lang="ru-RU" sz="2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5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19 400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5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55,4 (0,3</a:t>
                      </a:r>
                      <a:r>
                        <a:rPr lang="en-US" sz="3000" dirty="0">
                          <a:solidFill>
                            <a:schemeClr val="tx1"/>
                          </a:solidFill>
                        </a:rPr>
                        <a:t>%</a:t>
                      </a:r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5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065557"/>
                  </a:ext>
                </a:extLst>
              </a:tr>
              <a:tr h="1120883">
                <a:tc>
                  <a:txBody>
                    <a:bodyPr/>
                    <a:lstStyle/>
                    <a:p>
                      <a:pPr algn="l"/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В </a:t>
                      </a:r>
                      <a:r>
                        <a:rPr lang="ru-RU" sz="2600" b="0" dirty="0" err="1">
                          <a:solidFill>
                            <a:schemeClr val="tx1"/>
                          </a:solidFill>
                        </a:rPr>
                        <a:t>т.ч</a:t>
                      </a: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. инвестиции в 2021 г., млн долл.</a:t>
                      </a:r>
                      <a:endParaRPr lang="ru-RU" sz="2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7 300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5,4 (0,07</a:t>
                      </a:r>
                      <a:r>
                        <a:rPr lang="en-US" sz="3000" dirty="0">
                          <a:solidFill>
                            <a:schemeClr val="tx1"/>
                          </a:solidFill>
                        </a:rPr>
                        <a:t>%</a:t>
                      </a:r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7162075"/>
                  </a:ext>
                </a:extLst>
              </a:tr>
              <a:tr h="1120883">
                <a:tc>
                  <a:txBody>
                    <a:bodyPr/>
                    <a:lstStyle/>
                    <a:p>
                      <a:pPr algn="l"/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Динамика инвестиций в 2021 г. </a:t>
                      </a:r>
                      <a:br>
                        <a:rPr lang="en-US" sz="26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по сравнению с 2020 г.</a:t>
                      </a:r>
                      <a:endParaRPr lang="ru-RU" sz="2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5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Рост на 63</a:t>
                      </a:r>
                      <a:r>
                        <a:rPr lang="en-US" sz="3000" dirty="0">
                          <a:solidFill>
                            <a:schemeClr val="tx1"/>
                          </a:solidFill>
                        </a:rPr>
                        <a:t>%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5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Сокращение на 69</a:t>
                      </a:r>
                      <a:r>
                        <a:rPr lang="en-US" sz="3000" dirty="0">
                          <a:solidFill>
                            <a:schemeClr val="tx1"/>
                          </a:solidFill>
                        </a:rPr>
                        <a:t>%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5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9793205"/>
                  </a:ext>
                </a:extLst>
              </a:tr>
              <a:tr h="717759">
                <a:tc>
                  <a:txBody>
                    <a:bodyPr/>
                    <a:lstStyle/>
                    <a:p>
                      <a:pPr algn="l"/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Средний </a:t>
                      </a:r>
                      <a:r>
                        <a:rPr lang="ru-RU" sz="2600" b="0" dirty="0" err="1">
                          <a:solidFill>
                            <a:schemeClr val="tx1"/>
                          </a:solidFill>
                        </a:rPr>
                        <a:t>инвест</a:t>
                      </a: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. чек, млн. долл.</a:t>
                      </a:r>
                      <a:endParaRPr lang="ru-RU" sz="2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0,97 (7,5</a:t>
                      </a:r>
                      <a:r>
                        <a:rPr lang="en-US" sz="3000" dirty="0">
                          <a:solidFill>
                            <a:schemeClr val="tx1"/>
                          </a:solidFill>
                        </a:rPr>
                        <a:t>%</a:t>
                      </a:r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278840"/>
                  </a:ext>
                </a:extLst>
              </a:tr>
              <a:tr h="1120883">
                <a:tc>
                  <a:txBody>
                    <a:bodyPr/>
                    <a:lstStyle/>
                    <a:p>
                      <a:pPr algn="l"/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Максимальный </a:t>
                      </a:r>
                      <a:r>
                        <a:rPr lang="ru-RU" sz="2600" b="0" dirty="0" err="1">
                          <a:solidFill>
                            <a:schemeClr val="tx1"/>
                          </a:solidFill>
                        </a:rPr>
                        <a:t>инвест</a:t>
                      </a: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. чек, </a:t>
                      </a:r>
                      <a:br>
                        <a:rPr lang="en-US" sz="26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млн. долл.</a:t>
                      </a:r>
                      <a:endParaRPr lang="ru-RU" sz="2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5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400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5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5,3 (1,3</a:t>
                      </a:r>
                      <a:r>
                        <a:rPr lang="en-US" sz="3000" dirty="0">
                          <a:solidFill>
                            <a:schemeClr val="tx1"/>
                          </a:solidFill>
                        </a:rPr>
                        <a:t>%</a:t>
                      </a:r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5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7183567"/>
                  </a:ext>
                </a:extLst>
              </a:tr>
              <a:tr h="954945">
                <a:tc>
                  <a:txBody>
                    <a:bodyPr/>
                    <a:lstStyle/>
                    <a:p>
                      <a:pPr algn="l"/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Суммарная капитализация компаний, млн</a:t>
                      </a:r>
                      <a:r>
                        <a:rPr lang="en-US" sz="26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2600" b="0" dirty="0">
                          <a:solidFill>
                            <a:schemeClr val="tx1"/>
                          </a:solidFill>
                        </a:rPr>
                        <a:t>долл.</a:t>
                      </a:r>
                      <a:endParaRPr lang="ru-RU" sz="2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49 000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200 (0,4</a:t>
                      </a:r>
                      <a:r>
                        <a:rPr lang="en-US" sz="3000" dirty="0">
                          <a:solidFill>
                            <a:schemeClr val="tx1"/>
                          </a:solidFill>
                        </a:rPr>
                        <a:t>%</a:t>
                      </a:r>
                      <a:r>
                        <a:rPr lang="ru-RU" sz="30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ru-RU" sz="3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50781" marR="150781" marT="75390" marB="753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10348645"/>
                  </a:ext>
                </a:extLst>
              </a:tr>
            </a:tbl>
          </a:graphicData>
        </a:graphic>
      </p:graphicFrame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9DDC481B-2F37-E547-BBE6-E28C8C5A95B5}"/>
              </a:ext>
            </a:extLst>
          </p:cNvPr>
          <p:cNvCxnSpPr>
            <a:cxnSpLocks/>
          </p:cNvCxnSpPr>
          <p:nvPr/>
        </p:nvCxnSpPr>
        <p:spPr>
          <a:xfrm>
            <a:off x="552995" y="10644854"/>
            <a:ext cx="18879372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3DA8F0CC-955F-204E-98C5-13DDF6CF6734}"/>
              </a:ext>
            </a:extLst>
          </p:cNvPr>
          <p:cNvSpPr txBox="1"/>
          <p:nvPr/>
        </p:nvSpPr>
        <p:spPr>
          <a:xfrm>
            <a:off x="612363" y="10763593"/>
            <a:ext cx="19127859" cy="320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84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точник: </a:t>
            </a:r>
            <a:r>
              <a:rPr lang="en-US" sz="1484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484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нные </a:t>
            </a:r>
            <a:r>
              <a:rPr lang="en-US" sz="1484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unchbase, 04.02.2022. 2. </a:t>
            </a:r>
            <a:r>
              <a:rPr lang="ru-RU" sz="1484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нные К-</a:t>
            </a:r>
            <a:r>
              <a:rPr lang="ru-RU" sz="1484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ай</a:t>
            </a:r>
            <a:r>
              <a:rPr lang="ru-RU" sz="1484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04.02.2022</a:t>
            </a:r>
            <a:endParaRPr lang="en" sz="1484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2882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01C8E5C-97FC-0B40-9651-5C21CE515ED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35916"/>
            <a:ext cx="20263534" cy="1350413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43DE279-E2F8-9A4F-8301-AE044C23AB96}"/>
              </a:ext>
            </a:extLst>
          </p:cNvPr>
          <p:cNvSpPr txBox="1"/>
          <p:nvPr/>
        </p:nvSpPr>
        <p:spPr>
          <a:xfrm>
            <a:off x="1265424" y="5327618"/>
            <a:ext cx="12704987" cy="3746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915" b="1" dirty="0">
                <a:solidFill>
                  <a:schemeClr val="accent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де искать «место под солнцем» для ИИ в нашей стране?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249E9632-C9A3-7A47-9C8C-925C0B0EABCB}"/>
              </a:ext>
            </a:extLst>
          </p:cNvPr>
          <p:cNvCxnSpPr>
            <a:cxnSpLocks/>
          </p:cNvCxnSpPr>
          <p:nvPr/>
        </p:nvCxnSpPr>
        <p:spPr>
          <a:xfrm>
            <a:off x="1265424" y="9576210"/>
            <a:ext cx="18998111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81527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Заголовок 2">
            <a:extLst>
              <a:ext uri="{FF2B5EF4-FFF2-40B4-BE49-F238E27FC236}">
                <a16:creationId xmlns:a16="http://schemas.microsoft.com/office/drawing/2014/main" id="{5F02D4DF-1F6D-EFBB-0393-8531E2ED3148}"/>
              </a:ext>
            </a:extLst>
          </p:cNvPr>
          <p:cNvSpPr txBox="1">
            <a:spLocks/>
          </p:cNvSpPr>
          <p:nvPr/>
        </p:nvSpPr>
        <p:spPr>
          <a:xfrm>
            <a:off x="759121" y="513683"/>
            <a:ext cx="17646331" cy="91108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  <a:buFontTx/>
            </a:pPr>
            <a:r>
              <a:rPr lang="ru-RU" sz="4800" b="1" dirty="0"/>
              <a:t>Как продвигать? Создавать реальную ценность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7D23194-82E9-7953-F372-AB4B36EE3BE7}"/>
              </a:ext>
            </a:extLst>
          </p:cNvPr>
          <p:cNvSpPr txBox="1"/>
          <p:nvPr/>
        </p:nvSpPr>
        <p:spPr>
          <a:xfrm>
            <a:off x="759121" y="1778001"/>
            <a:ext cx="16970079" cy="8894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>
              <a:buAutoNum type="arabicPeriod"/>
            </a:pPr>
            <a:r>
              <a:rPr lang="ru-RU" sz="4400" b="1" dirty="0"/>
              <a:t>Делать тоже самое, что уже делают в здравоохранении </a:t>
            </a:r>
            <a:r>
              <a:rPr lang="ru-RU" sz="4400" dirty="0"/>
              <a:t>– но дешевле (замена существующего процесса на цифровой аналог с сокращением стоимости, но сохранением законности и результативности)</a:t>
            </a:r>
          </a:p>
          <a:p>
            <a:pPr marL="742950" indent="-742950">
              <a:buAutoNum type="arabicPeriod"/>
            </a:pPr>
            <a:r>
              <a:rPr lang="ru-RU" sz="4400" b="1" dirty="0"/>
              <a:t>Делать то, что не могут пока сделать участники </a:t>
            </a:r>
            <a:r>
              <a:rPr lang="ru-RU" sz="4400" dirty="0"/>
              <a:t>системы здравоохранения (врачи, руководители, пациенты, фармацевтические компании, научные и образовательные учреждения)</a:t>
            </a:r>
          </a:p>
          <a:p>
            <a:pPr marL="742950" indent="-742950">
              <a:buAutoNum type="arabicPeriod"/>
            </a:pPr>
            <a:r>
              <a:rPr lang="ru-RU" sz="4400" b="1" dirty="0"/>
              <a:t>Делать там, где система здравоохранения отсутствует </a:t>
            </a:r>
            <a:r>
              <a:rPr lang="ru-RU" sz="4400" dirty="0"/>
              <a:t>(виртуальная медицинская помощь в удаленных территориях, госпиталь на дому, дистанционный мониторинг и </a:t>
            </a:r>
            <a:r>
              <a:rPr lang="ru-RU" sz="4400" dirty="0" err="1"/>
              <a:t>тд</a:t>
            </a:r>
            <a:r>
              <a:rPr lang="ru-RU" sz="4400" dirty="0"/>
              <a:t>)</a:t>
            </a:r>
          </a:p>
          <a:p>
            <a:pPr marL="742950" indent="-742950">
              <a:buAutoNum type="arabicPeriod"/>
            </a:pPr>
            <a:endParaRPr lang="ru-RU" sz="4400" dirty="0"/>
          </a:p>
        </p:txBody>
      </p:sp>
    </p:spTree>
    <p:extLst>
      <p:ext uri="{BB962C8B-B14F-4D97-AF65-F5344CB8AC3E}">
        <p14:creationId xmlns:p14="http://schemas.microsoft.com/office/powerpoint/2010/main" val="16415628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77B804A-4A50-7142-B211-57D05B5B4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9121" y="513683"/>
            <a:ext cx="17646331" cy="911089"/>
          </a:xfrm>
        </p:spPr>
        <p:txBody>
          <a:bodyPr>
            <a:noAutofit/>
          </a:bodyPr>
          <a:lstStyle/>
          <a:p>
            <a:r>
              <a:rPr lang="ru-RU" sz="4800" b="1" dirty="0"/>
              <a:t>Где искать идею? Самое разумное – в эффективности</a:t>
            </a:r>
          </a:p>
        </p:txBody>
      </p:sp>
      <p:sp>
        <p:nvSpPr>
          <p:cNvPr id="36" name="Номер слайда 3">
            <a:extLst>
              <a:ext uri="{FF2B5EF4-FFF2-40B4-BE49-F238E27FC236}">
                <a16:creationId xmlns:a16="http://schemas.microsoft.com/office/drawing/2014/main" id="{23012E1F-CCAE-6A5F-3458-8A6F3E980A78}"/>
              </a:ext>
            </a:extLst>
          </p:cNvPr>
          <p:cNvSpPr>
            <a:spLocks noGrp="1"/>
          </p:cNvSpPr>
          <p:nvPr>
            <p:ph type="sldNum" idx="4"/>
          </p:nvPr>
        </p:nvSpPr>
        <p:spPr>
          <a:xfrm>
            <a:off x="7684011" y="4931413"/>
            <a:ext cx="2318544" cy="198429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914400" rtl="0" eaLnBrk="1" latinLnBrk="0" hangingPunct="1">
              <a:defRPr sz="10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37" name="Равно 36">
            <a:extLst>
              <a:ext uri="{FF2B5EF4-FFF2-40B4-BE49-F238E27FC236}">
                <a16:creationId xmlns:a16="http://schemas.microsoft.com/office/drawing/2014/main" id="{38EE70B0-A1BE-BA10-DE10-9F6BDCD26116}"/>
              </a:ext>
            </a:extLst>
          </p:cNvPr>
          <p:cNvSpPr/>
          <p:nvPr/>
        </p:nvSpPr>
        <p:spPr>
          <a:xfrm>
            <a:off x="8012022" y="2399844"/>
            <a:ext cx="1898679" cy="1068006"/>
          </a:xfrm>
          <a:prstGeom prst="mathEqual">
            <a:avLst>
              <a:gd name="adj1" fmla="val 12080"/>
              <a:gd name="adj2" fmla="val 232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307">
              <a:solidFill>
                <a:schemeClr val="tx1"/>
              </a:solidFill>
            </a:endParaRPr>
          </a:p>
        </p:txBody>
      </p:sp>
      <p:pic>
        <p:nvPicPr>
          <p:cNvPr id="38" name="Рисунок 37" descr="Попасть в яблочко">
            <a:extLst>
              <a:ext uri="{FF2B5EF4-FFF2-40B4-BE49-F238E27FC236}">
                <a16:creationId xmlns:a16="http://schemas.microsoft.com/office/drawing/2014/main" id="{618FC806-E493-4222-1560-DCCEA3C322D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981582" y="1778205"/>
            <a:ext cx="1506908" cy="1506908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6199BE79-435A-4301-0114-069B6B67CFF0}"/>
              </a:ext>
            </a:extLst>
          </p:cNvPr>
          <p:cNvSpPr txBox="1"/>
          <p:nvPr/>
        </p:nvSpPr>
        <p:spPr>
          <a:xfrm>
            <a:off x="8275370" y="3456456"/>
            <a:ext cx="4943116" cy="1309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636" b="1" dirty="0">
                <a:ea typeface="Tahoma" panose="020B0604030504040204" pitchFamily="34" charset="0"/>
                <a:cs typeface="Tahoma" panose="020B0604030504040204" pitchFamily="34" charset="0"/>
              </a:rPr>
              <a:t>Ценность ИИ </a:t>
            </a:r>
            <a:r>
              <a:rPr lang="ru-RU" sz="2636" dirty="0">
                <a:ea typeface="Tahoma" panose="020B0604030504040204" pitchFamily="34" charset="0"/>
                <a:cs typeface="Tahoma" panose="020B0604030504040204" pitchFamily="34" charset="0"/>
              </a:rPr>
              <a:t>(востребованность</a:t>
            </a:r>
            <a:r>
              <a:rPr lang="en-US" sz="2636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636" dirty="0">
                <a:ea typeface="Tahoma" panose="020B0604030504040204" pitchFamily="34" charset="0"/>
                <a:cs typeface="Tahoma" panose="020B0604030504040204" pitchFamily="34" charset="0"/>
              </a:rPr>
              <a:t>потребителями)</a:t>
            </a:r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8A8E89B8-9D03-AC50-DDF5-4F51EE8BC656}"/>
              </a:ext>
            </a:extLst>
          </p:cNvPr>
          <p:cNvCxnSpPr>
            <a:cxnSpLocks/>
          </p:cNvCxnSpPr>
          <p:nvPr/>
        </p:nvCxnSpPr>
        <p:spPr>
          <a:xfrm>
            <a:off x="12429358" y="3091604"/>
            <a:ext cx="7357377" cy="0"/>
          </a:xfrm>
          <a:prstGeom prst="line">
            <a:avLst/>
          </a:prstGeom>
          <a:ln w="28575">
            <a:solidFill>
              <a:srgbClr val="0043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Рисунок 40" descr="Линейчатая диаграмма с тенденцией к повышению">
            <a:extLst>
              <a:ext uri="{FF2B5EF4-FFF2-40B4-BE49-F238E27FC236}">
                <a16:creationId xmlns:a16="http://schemas.microsoft.com/office/drawing/2014/main" id="{D3EFD8D9-7147-40AD-6459-7A0E653EBEE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261887" y="1747306"/>
            <a:ext cx="1186541" cy="1186541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9B1E771D-0ED0-C8C3-E2A3-8ABB3BD03E24}"/>
              </a:ext>
            </a:extLst>
          </p:cNvPr>
          <p:cNvSpPr txBox="1"/>
          <p:nvPr/>
        </p:nvSpPr>
        <p:spPr>
          <a:xfrm>
            <a:off x="13448428" y="1750594"/>
            <a:ext cx="6650552" cy="903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636" b="1" dirty="0">
                <a:ea typeface="Tahoma" panose="020B0604030504040204" pitchFamily="34" charset="0"/>
                <a:cs typeface="Tahoma" panose="020B0604030504040204" pitchFamily="34" charset="0"/>
              </a:rPr>
              <a:t>Результат лучше человека </a:t>
            </a:r>
            <a:br>
              <a:rPr lang="ru-RU" sz="2636" b="1" dirty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636" dirty="0">
                <a:ea typeface="Tahoma" panose="020B0604030504040204" pitchFamily="34" charset="0"/>
                <a:cs typeface="Tahoma" panose="020B0604030504040204" pitchFamily="34" charset="0"/>
              </a:rPr>
              <a:t>точность, скорость, объем данных</a:t>
            </a:r>
          </a:p>
        </p:txBody>
      </p:sp>
      <p:pic>
        <p:nvPicPr>
          <p:cNvPr id="43" name="Рисунок 42" descr="Линейчатая диаграмма с тенденцией к понижению">
            <a:extLst>
              <a:ext uri="{FF2B5EF4-FFF2-40B4-BE49-F238E27FC236}">
                <a16:creationId xmlns:a16="http://schemas.microsoft.com/office/drawing/2014/main" id="{C1E20850-A7DF-37E2-7D6A-DC523C4F030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287394" y="3456456"/>
            <a:ext cx="1186541" cy="1186541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CFC79FD-E133-7EA1-0BC9-7A46B15A297F}"/>
              </a:ext>
            </a:extLst>
          </p:cNvPr>
          <p:cNvSpPr txBox="1"/>
          <p:nvPr/>
        </p:nvSpPr>
        <p:spPr>
          <a:xfrm>
            <a:off x="13448428" y="3349022"/>
            <a:ext cx="6453891" cy="1309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636" b="1" dirty="0">
                <a:ea typeface="Tahoma" panose="020B0604030504040204" pitchFamily="34" charset="0"/>
                <a:cs typeface="Tahoma" panose="020B0604030504040204" pitchFamily="34" charset="0"/>
              </a:rPr>
              <a:t>Затраты меньше </a:t>
            </a:r>
            <a:br>
              <a:rPr lang="ru-RU" sz="2636" b="1" dirty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636" dirty="0">
                <a:ea typeface="Tahoma" panose="020B0604030504040204" pitchFamily="34" charset="0"/>
                <a:cs typeface="Tahoma" panose="020B0604030504040204" pitchFamily="34" charset="0"/>
              </a:rPr>
              <a:t>новый процесс, в котором замещено участие человека на ИИ-алгоритм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EC6A5C2-3769-3BEC-6DBA-5B854B283596}"/>
              </a:ext>
            </a:extLst>
          </p:cNvPr>
          <p:cNvSpPr txBox="1"/>
          <p:nvPr/>
        </p:nvSpPr>
        <p:spPr>
          <a:xfrm>
            <a:off x="674263" y="5384343"/>
            <a:ext cx="11135934" cy="5101525"/>
          </a:xfrm>
          <a:prstGeom prst="rect">
            <a:avLst/>
          </a:prstGeom>
          <a:solidFill>
            <a:srgbClr val="ECF5FE"/>
          </a:solidFill>
        </p:spPr>
        <p:txBody>
          <a:bodyPr wrap="square" rtlCol="0">
            <a:spAutoFit/>
          </a:bodyPr>
          <a:lstStyle/>
          <a:p>
            <a:pPr marL="298232"/>
            <a:endParaRPr lang="en-US" sz="2636" b="1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98232">
              <a:spcAft>
                <a:spcPts val="798"/>
              </a:spcAft>
            </a:pPr>
            <a:r>
              <a:rPr lang="ru-RU" sz="2636" b="1" dirty="0">
                <a:ea typeface="Tahoma" panose="020B0604030504040204" pitchFamily="34" charset="0"/>
                <a:cs typeface="Tahoma" panose="020B0604030504040204" pitchFamily="34" charset="0"/>
              </a:rPr>
              <a:t>Условия продажи ИИ-продукта </a:t>
            </a:r>
            <a:r>
              <a:rPr lang="en-US" sz="2636" b="1" dirty="0">
                <a:ea typeface="Tahoma" panose="020B0604030504040204" pitchFamily="34" charset="0"/>
                <a:cs typeface="Tahoma" panose="020B0604030504040204" pitchFamily="34" charset="0"/>
              </a:rPr>
              <a:t>[</a:t>
            </a:r>
            <a:r>
              <a:rPr lang="ru-RU" sz="2636" b="1" dirty="0">
                <a:ea typeface="Tahoma" panose="020B0604030504040204" pitchFamily="34" charset="0"/>
                <a:cs typeface="Tahoma" panose="020B0604030504040204" pitchFamily="34" charset="0"/>
              </a:rPr>
              <a:t>появление рынка</a:t>
            </a:r>
            <a:r>
              <a:rPr lang="en-US" sz="2636" b="1" dirty="0">
                <a:ea typeface="Tahoma" panose="020B0604030504040204" pitchFamily="34" charset="0"/>
                <a:cs typeface="Tahoma" panose="020B0604030504040204" pitchFamily="34" charset="0"/>
              </a:rPr>
              <a:t>]</a:t>
            </a:r>
            <a:r>
              <a:rPr lang="ru-RU" sz="2636" b="1" dirty="0"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298232">
              <a:lnSpc>
                <a:spcPct val="150000"/>
              </a:lnSpc>
              <a:spcAft>
                <a:spcPts val="798"/>
              </a:spcAft>
              <a:buBlip>
                <a:blip r:embed="rId8"/>
              </a:buBlip>
            </a:pPr>
            <a:r>
              <a:rPr lang="en-US" sz="2307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307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792" dirty="0">
                <a:ea typeface="Tahoma" panose="020B0604030504040204" pitchFamily="34" charset="0"/>
                <a:cs typeface="Tahoma" panose="020B0604030504040204" pitchFamily="34" charset="0"/>
              </a:rPr>
              <a:t>Эффективность нового процесса на основе ИИ лучше, чем у старого процесса без ИИ</a:t>
            </a:r>
            <a:endParaRPr lang="en-US" sz="2792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98232">
              <a:lnSpc>
                <a:spcPct val="150000"/>
              </a:lnSpc>
              <a:spcAft>
                <a:spcPts val="798"/>
              </a:spcAft>
              <a:buBlip>
                <a:blip r:embed="rId8"/>
              </a:buBlip>
            </a:pPr>
            <a:r>
              <a:rPr lang="en-US" sz="2792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792" dirty="0">
                <a:ea typeface="Tahoma" panose="020B0604030504040204" pitchFamily="34" charset="0"/>
                <a:cs typeface="Tahoma" panose="020B0604030504040204" pitchFamily="34" charset="0"/>
              </a:rPr>
              <a:t>Бизнес-модель, ориентированная на плательщика</a:t>
            </a:r>
          </a:p>
          <a:p>
            <a:pPr marL="298232">
              <a:lnSpc>
                <a:spcPct val="150000"/>
              </a:lnSpc>
              <a:spcAft>
                <a:spcPts val="798"/>
              </a:spcAft>
              <a:buBlip>
                <a:blip r:embed="rId8"/>
              </a:buBlip>
            </a:pPr>
            <a:r>
              <a:rPr lang="ru-RU" sz="2792" dirty="0">
                <a:ea typeface="Tahoma" panose="020B0604030504040204" pitchFamily="34" charset="0"/>
                <a:cs typeface="Tahoma" panose="020B0604030504040204" pitchFamily="34" charset="0"/>
              </a:rPr>
              <a:t> Плательщик имеет возможность заплатить за продукт </a:t>
            </a:r>
            <a:br>
              <a:rPr lang="en-US" sz="2792" dirty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792" dirty="0">
                <a:ea typeface="Tahoma" panose="020B0604030504040204" pitchFamily="34" charset="0"/>
                <a:cs typeface="Tahoma" panose="020B0604030504040204" pitchFamily="34" charset="0"/>
              </a:rPr>
              <a:t>    </a:t>
            </a:r>
            <a:r>
              <a:rPr lang="ru-RU" sz="2792" dirty="0">
                <a:ea typeface="Tahoma" panose="020B0604030504040204" pitchFamily="34" charset="0"/>
                <a:cs typeface="Tahoma" panose="020B0604030504040204" pitchFamily="34" charset="0"/>
              </a:rPr>
              <a:t>(нормативно, фактически)</a:t>
            </a:r>
          </a:p>
          <a:p>
            <a:pPr marL="298232">
              <a:lnSpc>
                <a:spcPct val="150000"/>
              </a:lnSpc>
              <a:spcAft>
                <a:spcPts val="798"/>
              </a:spcAft>
              <a:buBlip>
                <a:blip r:embed="rId8"/>
              </a:buBlip>
            </a:pPr>
            <a:r>
              <a:rPr lang="ru-RU" sz="2792" dirty="0">
                <a:ea typeface="Tahoma" panose="020B0604030504040204" pitchFamily="34" charset="0"/>
                <a:cs typeface="Tahoma" panose="020B0604030504040204" pitchFamily="34" charset="0"/>
              </a:rPr>
              <a:t>  Доверие к безопасности и эффективности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82B59F5-0BE7-F95E-DBEA-34552DD18935}"/>
              </a:ext>
            </a:extLst>
          </p:cNvPr>
          <p:cNvSpPr txBox="1"/>
          <p:nvPr/>
        </p:nvSpPr>
        <p:spPr>
          <a:xfrm>
            <a:off x="-85222" y="1560098"/>
            <a:ext cx="8496337" cy="35295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96465"/>
            <a:r>
              <a:rPr lang="ru-RU" sz="3191" b="1" dirty="0">
                <a:latin typeface="+mj-lt"/>
                <a:cs typeface="Arial" panose="020B0604020202020204" pitchFamily="34" charset="0"/>
              </a:rPr>
              <a:t>Искусственный интеллект </a:t>
            </a:r>
            <a:r>
              <a:rPr lang="ru-RU" sz="3191" dirty="0">
                <a:latin typeface="+mj-lt"/>
                <a:cs typeface="Arial" panose="020B0604020202020204" pitchFamily="34" charset="0"/>
              </a:rPr>
              <a:t>– ключевая технология цифровой трансформации, направленная на </a:t>
            </a:r>
            <a:r>
              <a:rPr lang="ru-RU" sz="3191" b="1" dirty="0">
                <a:latin typeface="+mj-lt"/>
                <a:cs typeface="Arial" panose="020B0604020202020204" pitchFamily="34" charset="0"/>
              </a:rPr>
              <a:t>повышение эффективности процессов</a:t>
            </a:r>
            <a:r>
              <a:rPr lang="ru-RU" sz="3191" dirty="0">
                <a:latin typeface="+mj-lt"/>
                <a:cs typeface="Arial" panose="020B0604020202020204" pitchFamily="34" charset="0"/>
              </a:rPr>
              <a:t> через замену ручного труда человека и сокращении таким образом затрат на этот процесс</a:t>
            </a:r>
            <a:endParaRPr lang="en-US" sz="3191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56906BA3-2FD5-FC32-E59A-E7E1D86CB6F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0169" y="5665922"/>
            <a:ext cx="2119048" cy="1414168"/>
          </a:xfrm>
          <a:prstGeom prst="round2Diag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21AE36D8-967D-13E0-9497-C7C056EDA276}"/>
              </a:ext>
            </a:extLst>
          </p:cNvPr>
          <p:cNvSpPr txBox="1"/>
          <p:nvPr/>
        </p:nvSpPr>
        <p:spPr>
          <a:xfrm>
            <a:off x="14375287" y="5485282"/>
            <a:ext cx="5696034" cy="2019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97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ассификация, </a:t>
            </a:r>
            <a:br>
              <a:rPr lang="ru-RU" sz="3297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307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спективно: замена участия врача в рутинной обработке больших данных, выявление нормы с помощью ИИ, сокращение штрафов / рост выручки</a:t>
            </a:r>
          </a:p>
        </p:txBody>
      </p:sp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5729791D-F02F-7F96-E453-A7A5F52422D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9068" y="8241586"/>
            <a:ext cx="2121250" cy="1414168"/>
          </a:xfrm>
          <a:prstGeom prst="round2Diag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550D00E9-DF5A-1FDA-69B8-6F7B56EBF591}"/>
              </a:ext>
            </a:extLst>
          </p:cNvPr>
          <p:cNvSpPr txBox="1"/>
          <p:nvPr/>
        </p:nvSpPr>
        <p:spPr>
          <a:xfrm>
            <a:off x="14408066" y="8044292"/>
            <a:ext cx="5696034" cy="2019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97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нозирование, </a:t>
            </a:r>
            <a:endParaRPr lang="ru-RU" sz="2307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2307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спективно: выявление пациентов на ранней стадии для более дешевого лечения, предотвращение высоких затрат, персонификация помощи</a:t>
            </a:r>
            <a:endParaRPr lang="ru-RU" sz="3297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3060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E7435B03-32A1-B84C-AE93-1C2DE3C56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588" y="515375"/>
            <a:ext cx="16517923" cy="911089"/>
          </a:xfrm>
        </p:spPr>
        <p:txBody>
          <a:bodyPr>
            <a:noAutofit/>
          </a:bodyPr>
          <a:lstStyle/>
          <a:p>
            <a:r>
              <a:rPr lang="ru-RU" sz="4800" b="1" dirty="0"/>
              <a:t>Где искать выручку?</a:t>
            </a: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1D8E6D5B-4827-D34C-84B5-464FB7ED0FCA}"/>
              </a:ext>
            </a:extLst>
          </p:cNvPr>
          <p:cNvSpPr/>
          <p:nvPr/>
        </p:nvSpPr>
        <p:spPr>
          <a:xfrm>
            <a:off x="652278" y="2105127"/>
            <a:ext cx="8430412" cy="1543596"/>
          </a:xfrm>
          <a:prstGeom prst="roundRect">
            <a:avLst>
              <a:gd name="adj" fmla="val 2965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958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ЛЛЮЗИИ </a:t>
            </a:r>
            <a:br>
              <a:rPr lang="ru-RU" sz="3958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тут нет рынка)</a:t>
            </a: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513DA2A1-E12A-414E-BF3F-75E0F46A697D}"/>
              </a:ext>
            </a:extLst>
          </p:cNvPr>
          <p:cNvSpPr/>
          <p:nvPr/>
        </p:nvSpPr>
        <p:spPr>
          <a:xfrm>
            <a:off x="10950664" y="2105127"/>
            <a:ext cx="8429475" cy="1543596"/>
          </a:xfrm>
          <a:prstGeom prst="roundRect">
            <a:avLst>
              <a:gd name="adj" fmla="val 2711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958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АКТЫ </a:t>
            </a:r>
          </a:p>
          <a:p>
            <a:pPr algn="ctr"/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реальные возможности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F3222A-7EFA-DF43-882B-3EE888E4EC21}"/>
              </a:ext>
            </a:extLst>
          </p:cNvPr>
          <p:cNvSpPr txBox="1"/>
          <p:nvPr/>
        </p:nvSpPr>
        <p:spPr>
          <a:xfrm>
            <a:off x="1127231" y="4017535"/>
            <a:ext cx="8786626" cy="5269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ынок ИИ для здравоохранения </a:t>
            </a:r>
            <a:br>
              <a:rPr lang="en-US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30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нет его в РФ)</a:t>
            </a:r>
            <a:endParaRPr lang="en-US" sz="230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97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ынок систем поддержки принятия врачебных решений</a:t>
            </a:r>
            <a:r>
              <a:rPr lang="ru-RU" sz="230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слишком большие ожидания)</a:t>
            </a:r>
            <a:endParaRPr lang="en-US" sz="230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97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ынок ОМС (нет там денег на ИИ)</a:t>
            </a:r>
          </a:p>
          <a:p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едеральные проекты ЦЭ, ЕЦК </a:t>
            </a:r>
            <a:br>
              <a:rPr lang="en-US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30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нет поручений)</a:t>
            </a:r>
            <a:endParaRPr lang="en-US" sz="230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97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циональная стратегия развития </a:t>
            </a:r>
            <a:br>
              <a:rPr lang="en-US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И в РФ </a:t>
            </a:r>
            <a:r>
              <a:rPr lang="ru-RU" sz="230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только слова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B9B4622-72E2-E840-831A-7552670DD344}"/>
              </a:ext>
            </a:extLst>
          </p:cNvPr>
          <p:cNvSpPr txBox="1"/>
          <p:nvPr/>
        </p:nvSpPr>
        <p:spPr>
          <a:xfrm>
            <a:off x="11576192" y="4004937"/>
            <a:ext cx="8682447" cy="5624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следовательские организации</a:t>
            </a:r>
            <a:endParaRPr lang="en-US" sz="3298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230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мерческая медицина</a:t>
            </a:r>
            <a:endParaRPr lang="en-US" sz="3298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230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висы для пациентов при </a:t>
            </a:r>
            <a:br>
              <a:rPr lang="en-US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ловии монетизации на </a:t>
            </a:r>
            <a:r>
              <a:rPr lang="en-US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2b</a:t>
            </a:r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рынке</a:t>
            </a:r>
            <a:br>
              <a:rPr lang="en-US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30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en-US" sz="230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2c2b</a:t>
            </a:r>
            <a:r>
              <a:rPr lang="ru-RU" sz="230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модель)</a:t>
            </a:r>
            <a:endParaRPr lang="en-US" sz="3298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230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аховые компании </a:t>
            </a:r>
            <a:br>
              <a:rPr lang="en-US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30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когда страховщики будут готовы)</a:t>
            </a:r>
            <a:endParaRPr lang="en-US" sz="230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2309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рпоративные заказчики </a:t>
            </a:r>
            <a:br>
              <a:rPr lang="en-US" sz="329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30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крупные предприятия, медицина труда)</a:t>
            </a:r>
          </a:p>
        </p:txBody>
      </p:sp>
      <p:pic>
        <p:nvPicPr>
          <p:cNvPr id="3074" name="Picture 2" descr="C:\Users\shiryaeva\Downloads\cancel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882" y="4154677"/>
            <a:ext cx="614878" cy="614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shiryaeva\Downloads\cancel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880" y="5327461"/>
            <a:ext cx="614878" cy="614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shiryaeva\Downloads\cancel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879" y="6667581"/>
            <a:ext cx="614878" cy="614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shiryaeva\Downloads\cancel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877" y="8334197"/>
            <a:ext cx="614878" cy="614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1127231" y="5192319"/>
            <a:ext cx="85491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1127231" y="6999249"/>
            <a:ext cx="85491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245969" y="8780149"/>
            <a:ext cx="85491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6" name="Picture 4" descr="C:\Users\shiryaeva\Downloads\ye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888" y="4154676"/>
            <a:ext cx="555933" cy="555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Прямая соединительная линия 16"/>
          <p:cNvCxnSpPr/>
          <p:nvPr/>
        </p:nvCxnSpPr>
        <p:spPr>
          <a:xfrm>
            <a:off x="11709489" y="4810313"/>
            <a:ext cx="782216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11709488" y="5560921"/>
            <a:ext cx="782216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4" descr="C:\Users\shiryaeva\Downloads\ye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9788" y="4987906"/>
            <a:ext cx="555933" cy="555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Прямая соединительная линия 20"/>
          <p:cNvCxnSpPr/>
          <p:nvPr/>
        </p:nvCxnSpPr>
        <p:spPr>
          <a:xfrm>
            <a:off x="11709489" y="7448345"/>
            <a:ext cx="782216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11709489" y="8819129"/>
            <a:ext cx="782216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4" descr="C:\Users\shiryaeva\Downloads\ye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888" y="5814826"/>
            <a:ext cx="555933" cy="555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C:\Users\shiryaeva\Downloads\ye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9788" y="7640226"/>
            <a:ext cx="555933" cy="555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C:\Users\shiryaeva\Downloads\yes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3564" y="8945447"/>
            <a:ext cx="555933" cy="555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Прямая соединительная линия 25"/>
          <p:cNvCxnSpPr/>
          <p:nvPr/>
        </p:nvCxnSpPr>
        <p:spPr>
          <a:xfrm>
            <a:off x="10151333" y="2105126"/>
            <a:ext cx="0" cy="8786626"/>
          </a:xfrm>
          <a:prstGeom prst="line">
            <a:avLst/>
          </a:prstGeom>
          <a:ln w="2857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1764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g0MAKoQKCujalkF24X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g0MAKoQKCujalkF24XOA"/>
</p:tagLst>
</file>

<file path=ppt/theme/theme1.xml><?xml version="1.0" encoding="utf-8"?>
<a:theme xmlns:a="http://schemas.openxmlformats.org/drawingml/2006/main" name="ОБЛОЖКИ">
  <a:themeElements>
    <a:clrScheme name="кмис">
      <a:dk1>
        <a:srgbClr val="3A4352"/>
      </a:dk1>
      <a:lt1>
        <a:sysClr val="window" lastClr="FFFFFF"/>
      </a:lt1>
      <a:dk2>
        <a:srgbClr val="152989"/>
      </a:dk2>
      <a:lt2>
        <a:srgbClr val="E0E0E2"/>
      </a:lt2>
      <a:accent1>
        <a:srgbClr val="004674"/>
      </a:accent1>
      <a:accent2>
        <a:srgbClr val="0A4884"/>
      </a:accent2>
      <a:accent3>
        <a:srgbClr val="2CACBA"/>
      </a:accent3>
      <a:accent4>
        <a:srgbClr val="FFC349"/>
      </a:accent4>
      <a:accent5>
        <a:srgbClr val="85C950"/>
      </a:accent5>
      <a:accent6>
        <a:srgbClr val="991F5C"/>
      </a:accent6>
      <a:hlink>
        <a:srgbClr val="0070C0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РАЗДЕЛИТЕЛИ">
  <a:themeElements>
    <a:clrScheme name="кмис">
      <a:dk1>
        <a:srgbClr val="3A4352"/>
      </a:dk1>
      <a:lt1>
        <a:sysClr val="window" lastClr="FFFFFF"/>
      </a:lt1>
      <a:dk2>
        <a:srgbClr val="152989"/>
      </a:dk2>
      <a:lt2>
        <a:srgbClr val="E0E0E2"/>
      </a:lt2>
      <a:accent1>
        <a:srgbClr val="004674"/>
      </a:accent1>
      <a:accent2>
        <a:srgbClr val="0A4884"/>
      </a:accent2>
      <a:accent3>
        <a:srgbClr val="2CACBA"/>
      </a:accent3>
      <a:accent4>
        <a:srgbClr val="FFC349"/>
      </a:accent4>
      <a:accent5>
        <a:srgbClr val="85C950"/>
      </a:accent5>
      <a:accent6>
        <a:srgbClr val="991F5C"/>
      </a:accent6>
      <a:hlink>
        <a:srgbClr val="0070C0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389BBA01C4FE21449AAFFFA76EBF4062" ma:contentTypeVersion="11" ma:contentTypeDescription="Создание документа." ma:contentTypeScope="" ma:versionID="79aedfc5a69420e3d16d7088044bfd88">
  <xsd:schema xmlns:xsd="http://www.w3.org/2001/XMLSchema" xmlns:xs="http://www.w3.org/2001/XMLSchema" xmlns:p="http://schemas.microsoft.com/office/2006/metadata/properties" xmlns:ns2="dae585fd-f7dc-4d5a-b1b8-e5742ef77c8f" xmlns:ns3="f3f21cfc-4d3e-42b1-8a95-d7209818f9d6" targetNamespace="http://schemas.microsoft.com/office/2006/metadata/properties" ma:root="true" ma:fieldsID="cf8c26219cdb8dd4a9c0e137e475de8a" ns2:_="" ns3:_="">
    <xsd:import namespace="dae585fd-f7dc-4d5a-b1b8-e5742ef77c8f"/>
    <xsd:import namespace="f3f21cfc-4d3e-42b1-8a95-d7209818f9d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e585fd-f7dc-4d5a-b1b8-e5742ef77c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f21cfc-4d3e-42b1-8a95-d7209818f9d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FF58AEB-2291-40AF-B249-515FE11CFB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3A4F37C-2065-498A-9F8A-F1C3212BD4FE}">
  <ds:schemaRefs>
    <ds:schemaRef ds:uri="dae585fd-f7dc-4d5a-b1b8-e5742ef77c8f"/>
    <ds:schemaRef ds:uri="f3f21cfc-4d3e-42b1-8a95-d7209818f9d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FF6784E-6852-4EC6-93B9-B2F40371A23B}">
  <ds:schemaRefs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dae585fd-f7dc-4d5a-b1b8-e5742ef77c8f"/>
    <ds:schemaRef ds:uri="http://purl.org/dc/dcmitype/"/>
    <ds:schemaRef ds:uri="f3f21cfc-4d3e-42b1-8a95-d7209818f9d6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899</TotalTime>
  <Words>862</Words>
  <Application>Microsoft Macintosh PowerPoint</Application>
  <PresentationFormat>Произвольный</PresentationFormat>
  <Paragraphs>110</Paragraphs>
  <Slides>10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0</vt:i4>
      </vt:variant>
    </vt:vector>
  </HeadingPairs>
  <TitlesOfParts>
    <vt:vector size="19" baseType="lpstr">
      <vt:lpstr>Arial</vt:lpstr>
      <vt:lpstr>Calibri</vt:lpstr>
      <vt:lpstr>Decima Mono Pro</vt:lpstr>
      <vt:lpstr>DIN Pro Regular</vt:lpstr>
      <vt:lpstr>Roboto</vt:lpstr>
      <vt:lpstr>Roboto Light</vt:lpstr>
      <vt:lpstr>Tahoma</vt:lpstr>
      <vt:lpstr>ОБЛОЖКИ</vt:lpstr>
      <vt:lpstr>РАЗДЕЛИТЕЛИ</vt:lpstr>
      <vt:lpstr>Искусственный интеллект в здравоохранении России:  где и как искать свое место?</vt:lpstr>
      <vt:lpstr>Национальная стратегия развития ИИ в России</vt:lpstr>
      <vt:lpstr>Российские ИИ стартапы в сфере здравоохранения</vt:lpstr>
      <vt:lpstr>Инвестиции в ИИ для здравоохранения. Мир и мы</vt:lpstr>
      <vt:lpstr>Сравнение глобального лидера (США) и нас</vt:lpstr>
      <vt:lpstr>Презентация PowerPoint</vt:lpstr>
      <vt:lpstr>Презентация PowerPoint</vt:lpstr>
      <vt:lpstr>Где искать идею? Самое разумное – в эффективности</vt:lpstr>
      <vt:lpstr>Где искать выручку?</vt:lpstr>
      <vt:lpstr>КОНТАКТ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Пешкова Василиса Олеговна</dc:creator>
  <cp:lastModifiedBy>Александр Гусев</cp:lastModifiedBy>
  <cp:revision>307</cp:revision>
  <cp:lastPrinted>2022-04-08T14:35:43Z</cp:lastPrinted>
  <dcterms:created xsi:type="dcterms:W3CDTF">2021-03-01T12:07:13Z</dcterms:created>
  <dcterms:modified xsi:type="dcterms:W3CDTF">2022-05-24T11:0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stSaved">
    <vt:filetime>2021-03-01T00:00:00Z</vt:filetime>
  </property>
  <property fmtid="{D5CDD505-2E9C-101B-9397-08002B2CF9AE}" pid="3" name="ContentTypeId">
    <vt:lpwstr>0x010100389BBA01C4FE21449AAFFFA76EBF4062</vt:lpwstr>
  </property>
</Properties>
</file>